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tags/tag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xml" ContentType="application/vnd.openxmlformats-officedocument.presentationml.tags+xml"/>
  <Override PartName="/ppt/notesSlides/notesSlide32.xml" ContentType="application/vnd.openxmlformats-officedocument.presentationml.notesSlide+xml"/>
  <Override PartName="/ppt/tags/tag6.xml" ContentType="application/vnd.openxmlformats-officedocument.presentationml.tags+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tags/tag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Lst>
  <p:notesMasterIdLst>
    <p:notesMasterId r:id="rId42"/>
  </p:notesMasterIdLst>
  <p:sldIdLst>
    <p:sldId id="264" r:id="rId6"/>
    <p:sldId id="280" r:id="rId7"/>
    <p:sldId id="2142533500" r:id="rId8"/>
    <p:sldId id="2142533491" r:id="rId9"/>
    <p:sldId id="2142533484" r:id="rId10"/>
    <p:sldId id="2142533497" r:id="rId11"/>
    <p:sldId id="2142533493" r:id="rId12"/>
    <p:sldId id="2142533492" r:id="rId13"/>
    <p:sldId id="2142533501" r:id="rId14"/>
    <p:sldId id="2142533488" r:id="rId15"/>
    <p:sldId id="1068" r:id="rId16"/>
    <p:sldId id="1028" r:id="rId17"/>
    <p:sldId id="2142533509" r:id="rId18"/>
    <p:sldId id="1069" r:id="rId19"/>
    <p:sldId id="1049" r:id="rId20"/>
    <p:sldId id="1030" r:id="rId21"/>
    <p:sldId id="1050" r:id="rId22"/>
    <p:sldId id="2142533506" r:id="rId23"/>
    <p:sldId id="1051" r:id="rId24"/>
    <p:sldId id="2141413425" r:id="rId25"/>
    <p:sldId id="2141413426" r:id="rId26"/>
    <p:sldId id="1079" r:id="rId27"/>
    <p:sldId id="260" r:id="rId28"/>
    <p:sldId id="2142533507" r:id="rId29"/>
    <p:sldId id="1057" r:id="rId30"/>
    <p:sldId id="256" r:id="rId31"/>
    <p:sldId id="262" r:id="rId32"/>
    <p:sldId id="2142533508" r:id="rId33"/>
    <p:sldId id="2141413451" r:id="rId34"/>
    <p:sldId id="2141413443" r:id="rId35"/>
    <p:sldId id="1070" r:id="rId36"/>
    <p:sldId id="2141413437" r:id="rId37"/>
    <p:sldId id="2141413453" r:id="rId38"/>
    <p:sldId id="2141413455" r:id="rId39"/>
    <p:sldId id="2141413454" r:id="rId40"/>
    <p:sldId id="2141413444" r:id="rId41"/>
  </p:sldIdLst>
  <p:sldSz cx="12192000" cy="6858000"/>
  <p:notesSz cx="9944100" cy="68056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D1146028-B7BD-4093-BC0B-FD10C56A7BC1}">
          <p14:sldIdLst>
            <p14:sldId id="264"/>
            <p14:sldId id="280"/>
            <p14:sldId id="2142533500"/>
            <p14:sldId id="2142533491"/>
            <p14:sldId id="2142533484"/>
            <p14:sldId id="2142533497"/>
            <p14:sldId id="2142533493"/>
            <p14:sldId id="2142533492"/>
            <p14:sldId id="2142533501"/>
            <p14:sldId id="2142533488"/>
            <p14:sldId id="1068"/>
            <p14:sldId id="1028"/>
            <p14:sldId id="2142533509"/>
            <p14:sldId id="1069"/>
            <p14:sldId id="1049"/>
            <p14:sldId id="1030"/>
            <p14:sldId id="1050"/>
            <p14:sldId id="2142533506"/>
            <p14:sldId id="1051"/>
            <p14:sldId id="2141413425"/>
            <p14:sldId id="2141413426"/>
            <p14:sldId id="1079"/>
            <p14:sldId id="260"/>
            <p14:sldId id="2142533507"/>
            <p14:sldId id="1057"/>
            <p14:sldId id="256"/>
            <p14:sldId id="262"/>
            <p14:sldId id="2142533508"/>
            <p14:sldId id="2141413451"/>
            <p14:sldId id="2141413443"/>
            <p14:sldId id="1070"/>
            <p14:sldId id="2141413437"/>
            <p14:sldId id="2141413453"/>
            <p14:sldId id="2141413455"/>
            <p14:sldId id="2141413454"/>
            <p14:sldId id="2141413444"/>
          </p14:sldIdLst>
        </p14:section>
        <p14:section name="Tools" id="{3A6D4E84-4BF0-4B97-8434-DCE38124A19D}">
          <p14:sldIdLst/>
        </p14:section>
        <p14:section name="Standardsektion" id="{73B1B5FC-5A6E-4561-ADD7-2B3AC3DB309C}">
          <p14:sldIdLst/>
        </p14:section>
        <p14:section name="Tools" id="{13298FAA-B0CE-4181-B38D-E38972434BCB}">
          <p14:sldIdLst/>
        </p14:section>
        <p14:section name="Standardsektion" id="{3A6DCE23-2335-487F-9F36-EFBD8C6C4121}">
          <p14:sldIdLst/>
        </p14:section>
        <p14:section name="Tools" id="{E93E3EBF-2321-4A01-8FD7-2065D85C66A3}">
          <p14:sldIdLst/>
        </p14:section>
        <p14:section name="Standardsektion" id="{9F491F3E-65A2-43AC-87B0-5FB5AED6C8EE}">
          <p14:sldIdLst/>
        </p14:section>
        <p14:section name="Tools" id="{AC6DDC7A-07FF-4E68-9A59-C9E8FD5548BD}">
          <p14:sldIdLst/>
        </p14:section>
        <p14:section name="Standardsektion" id="{3E943EA1-0AA3-4AFF-9AA7-CC7EF17DF45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FBE5"/>
    <a:srgbClr val="BED9C4"/>
    <a:srgbClr val="FFBBBE"/>
    <a:srgbClr val="FFFD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41B9F7-FE36-4BFD-85EE-AECE9AB1794A}" v="1" dt="2025-09-16T13:48:12.3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Linderholm" userId="23c7dd44-0682-4e3d-bb2a-998893d37c87" providerId="ADAL" clId="{D641B9F7-FE36-4BFD-85EE-AECE9AB1794A}"/>
    <pc:docChg chg="custSel delSld modSld delMainMaster delSection modSection">
      <pc:chgData name="Lars Linderholm" userId="23c7dd44-0682-4e3d-bb2a-998893d37c87" providerId="ADAL" clId="{D641B9F7-FE36-4BFD-85EE-AECE9AB1794A}" dt="2025-09-16T13:50:33.533" v="27" actId="47"/>
      <pc:docMkLst>
        <pc:docMk/>
      </pc:docMkLst>
      <pc:sldChg chg="del">
        <pc:chgData name="Lars Linderholm" userId="23c7dd44-0682-4e3d-bb2a-998893d37c87" providerId="ADAL" clId="{D641B9F7-FE36-4BFD-85EE-AECE9AB1794A}" dt="2025-09-16T13:48:37.381" v="14" actId="47"/>
        <pc:sldMkLst>
          <pc:docMk/>
          <pc:sldMk cId="626314618" sldId="261"/>
        </pc:sldMkLst>
      </pc:sldChg>
      <pc:sldChg chg="modSp del mod">
        <pc:chgData name="Lars Linderholm" userId="23c7dd44-0682-4e3d-bb2a-998893d37c87" providerId="ADAL" clId="{D641B9F7-FE36-4BFD-85EE-AECE9AB1794A}" dt="2025-09-16T13:50:33.533" v="27" actId="47"/>
        <pc:sldMkLst>
          <pc:docMk/>
          <pc:sldMk cId="3975199542" sldId="268"/>
        </pc:sldMkLst>
        <pc:spChg chg="mod">
          <ac:chgData name="Lars Linderholm" userId="23c7dd44-0682-4e3d-bb2a-998893d37c87" providerId="ADAL" clId="{D641B9F7-FE36-4BFD-85EE-AECE9AB1794A}" dt="2025-09-16T13:46:46.098" v="0" actId="20577"/>
          <ac:spMkLst>
            <pc:docMk/>
            <pc:sldMk cId="3975199542" sldId="268"/>
            <ac:spMk id="3" creationId="{00000000-0000-0000-0000-000000000000}"/>
          </ac:spMkLst>
        </pc:spChg>
      </pc:sldChg>
      <pc:sldChg chg="delSp">
        <pc:chgData name="Lars Linderholm" userId="23c7dd44-0682-4e3d-bb2a-998893d37c87" providerId="ADAL" clId="{D641B9F7-FE36-4BFD-85EE-AECE9AB1794A}" dt="2025-09-16T13:48:12.396" v="12" actId="478"/>
        <pc:sldMkLst>
          <pc:docMk/>
          <pc:sldMk cId="2496896069" sldId="1030"/>
        </pc:sldMkLst>
        <pc:picChg chg="del">
          <ac:chgData name="Lars Linderholm" userId="23c7dd44-0682-4e3d-bb2a-998893d37c87" providerId="ADAL" clId="{D641B9F7-FE36-4BFD-85EE-AECE9AB1794A}" dt="2025-09-16T13:48:12.396" v="12" actId="478"/>
          <ac:picMkLst>
            <pc:docMk/>
            <pc:sldMk cId="2496896069" sldId="1030"/>
            <ac:picMk id="3078" creationId="{8F791BA1-2FF2-586D-A9B7-94B5F52DDFF4}"/>
          </ac:picMkLst>
        </pc:picChg>
      </pc:sldChg>
      <pc:sldChg chg="delSp mod">
        <pc:chgData name="Lars Linderholm" userId="23c7dd44-0682-4e3d-bb2a-998893d37c87" providerId="ADAL" clId="{D641B9F7-FE36-4BFD-85EE-AECE9AB1794A}" dt="2025-09-16T13:48:24.639" v="13" actId="478"/>
        <pc:sldMkLst>
          <pc:docMk/>
          <pc:sldMk cId="1223216625" sldId="1079"/>
        </pc:sldMkLst>
        <pc:picChg chg="del">
          <ac:chgData name="Lars Linderholm" userId="23c7dd44-0682-4e3d-bb2a-998893d37c87" providerId="ADAL" clId="{D641B9F7-FE36-4BFD-85EE-AECE9AB1794A}" dt="2025-09-16T13:48:24.639" v="13" actId="478"/>
          <ac:picMkLst>
            <pc:docMk/>
            <pc:sldMk cId="1223216625" sldId="1079"/>
            <ac:picMk id="3" creationId="{82867F6E-8AED-9541-83FB-286EFCF3063D}"/>
          </ac:picMkLst>
        </pc:picChg>
      </pc:sldChg>
      <pc:sldChg chg="del">
        <pc:chgData name="Lars Linderholm" userId="23c7dd44-0682-4e3d-bb2a-998893d37c87" providerId="ADAL" clId="{D641B9F7-FE36-4BFD-85EE-AECE9AB1794A}" dt="2025-09-16T13:50:15.209" v="25" actId="47"/>
        <pc:sldMkLst>
          <pc:docMk/>
          <pc:sldMk cId="0" sldId="1790"/>
        </pc:sldMkLst>
      </pc:sldChg>
      <pc:sldChg chg="del">
        <pc:chgData name="Lars Linderholm" userId="23c7dd44-0682-4e3d-bb2a-998893d37c87" providerId="ADAL" clId="{D641B9F7-FE36-4BFD-85EE-AECE9AB1794A}" dt="2025-09-16T13:50:15.209" v="25" actId="47"/>
        <pc:sldMkLst>
          <pc:docMk/>
          <pc:sldMk cId="1517083025" sldId="4776"/>
        </pc:sldMkLst>
      </pc:sldChg>
      <pc:sldChg chg="del">
        <pc:chgData name="Lars Linderholm" userId="23c7dd44-0682-4e3d-bb2a-998893d37c87" providerId="ADAL" clId="{D641B9F7-FE36-4BFD-85EE-AECE9AB1794A}" dt="2025-09-16T13:50:15.209" v="25" actId="47"/>
        <pc:sldMkLst>
          <pc:docMk/>
          <pc:sldMk cId="1804476365" sldId="4803"/>
        </pc:sldMkLst>
      </pc:sldChg>
      <pc:sldChg chg="del">
        <pc:chgData name="Lars Linderholm" userId="23c7dd44-0682-4e3d-bb2a-998893d37c87" providerId="ADAL" clId="{D641B9F7-FE36-4BFD-85EE-AECE9AB1794A}" dt="2025-09-16T13:50:15.209" v="25" actId="47"/>
        <pc:sldMkLst>
          <pc:docMk/>
          <pc:sldMk cId="4287798262" sldId="4835"/>
        </pc:sldMkLst>
      </pc:sldChg>
      <pc:sldChg chg="del">
        <pc:chgData name="Lars Linderholm" userId="23c7dd44-0682-4e3d-bb2a-998893d37c87" providerId="ADAL" clId="{D641B9F7-FE36-4BFD-85EE-AECE9AB1794A}" dt="2025-09-16T13:50:15.209" v="25" actId="47"/>
        <pc:sldMkLst>
          <pc:docMk/>
          <pc:sldMk cId="2075639347" sldId="838841630"/>
        </pc:sldMkLst>
      </pc:sldChg>
      <pc:sldChg chg="del">
        <pc:chgData name="Lars Linderholm" userId="23c7dd44-0682-4e3d-bb2a-998893d37c87" providerId="ADAL" clId="{D641B9F7-FE36-4BFD-85EE-AECE9AB1794A}" dt="2025-09-16T13:50:15.209" v="25" actId="47"/>
        <pc:sldMkLst>
          <pc:docMk/>
          <pc:sldMk cId="3859395655" sldId="838841631"/>
        </pc:sldMkLst>
      </pc:sldChg>
      <pc:sldChg chg="del">
        <pc:chgData name="Lars Linderholm" userId="23c7dd44-0682-4e3d-bb2a-998893d37c87" providerId="ADAL" clId="{D641B9F7-FE36-4BFD-85EE-AECE9AB1794A}" dt="2025-09-16T13:50:15.209" v="25" actId="47"/>
        <pc:sldMkLst>
          <pc:docMk/>
          <pc:sldMk cId="1525781185" sldId="838841632"/>
        </pc:sldMkLst>
      </pc:sldChg>
      <pc:sldChg chg="del">
        <pc:chgData name="Lars Linderholm" userId="23c7dd44-0682-4e3d-bb2a-998893d37c87" providerId="ADAL" clId="{D641B9F7-FE36-4BFD-85EE-AECE9AB1794A}" dt="2025-09-16T13:50:15.209" v="25" actId="47"/>
        <pc:sldMkLst>
          <pc:docMk/>
          <pc:sldMk cId="1963945416" sldId="838841635"/>
        </pc:sldMkLst>
      </pc:sldChg>
      <pc:sldChg chg="del">
        <pc:chgData name="Lars Linderholm" userId="23c7dd44-0682-4e3d-bb2a-998893d37c87" providerId="ADAL" clId="{D641B9F7-FE36-4BFD-85EE-AECE9AB1794A}" dt="2025-09-16T13:50:15.209" v="25" actId="47"/>
        <pc:sldMkLst>
          <pc:docMk/>
          <pc:sldMk cId="3009259795" sldId="838841636"/>
        </pc:sldMkLst>
      </pc:sldChg>
      <pc:sldChg chg="del">
        <pc:chgData name="Lars Linderholm" userId="23c7dd44-0682-4e3d-bb2a-998893d37c87" providerId="ADAL" clId="{D641B9F7-FE36-4BFD-85EE-AECE9AB1794A}" dt="2025-09-16T13:50:15.209" v="25" actId="47"/>
        <pc:sldMkLst>
          <pc:docMk/>
          <pc:sldMk cId="1151175441" sldId="838841637"/>
        </pc:sldMkLst>
      </pc:sldChg>
      <pc:sldChg chg="del">
        <pc:chgData name="Lars Linderholm" userId="23c7dd44-0682-4e3d-bb2a-998893d37c87" providerId="ADAL" clId="{D641B9F7-FE36-4BFD-85EE-AECE9AB1794A}" dt="2025-09-16T13:50:15.209" v="25" actId="47"/>
        <pc:sldMkLst>
          <pc:docMk/>
          <pc:sldMk cId="882827826" sldId="838841638"/>
        </pc:sldMkLst>
      </pc:sldChg>
      <pc:sldChg chg="del">
        <pc:chgData name="Lars Linderholm" userId="23c7dd44-0682-4e3d-bb2a-998893d37c87" providerId="ADAL" clId="{D641B9F7-FE36-4BFD-85EE-AECE9AB1794A}" dt="2025-09-16T13:50:15.209" v="25" actId="47"/>
        <pc:sldMkLst>
          <pc:docMk/>
          <pc:sldMk cId="1577626165" sldId="838841643"/>
        </pc:sldMkLst>
      </pc:sldChg>
      <pc:sldChg chg="del">
        <pc:chgData name="Lars Linderholm" userId="23c7dd44-0682-4e3d-bb2a-998893d37c87" providerId="ADAL" clId="{D641B9F7-FE36-4BFD-85EE-AECE9AB1794A}" dt="2025-09-16T13:50:15.209" v="25" actId="47"/>
        <pc:sldMkLst>
          <pc:docMk/>
          <pc:sldMk cId="2209488968" sldId="838841644"/>
        </pc:sldMkLst>
      </pc:sldChg>
      <pc:sldChg chg="del">
        <pc:chgData name="Lars Linderholm" userId="23c7dd44-0682-4e3d-bb2a-998893d37c87" providerId="ADAL" clId="{D641B9F7-FE36-4BFD-85EE-AECE9AB1794A}" dt="2025-09-16T13:50:15.209" v="25" actId="47"/>
        <pc:sldMkLst>
          <pc:docMk/>
          <pc:sldMk cId="857422127" sldId="838841645"/>
        </pc:sldMkLst>
      </pc:sldChg>
      <pc:sldChg chg="del">
        <pc:chgData name="Lars Linderholm" userId="23c7dd44-0682-4e3d-bb2a-998893d37c87" providerId="ADAL" clId="{D641B9F7-FE36-4BFD-85EE-AECE9AB1794A}" dt="2025-09-16T13:50:15.209" v="25" actId="47"/>
        <pc:sldMkLst>
          <pc:docMk/>
          <pc:sldMk cId="937390090" sldId="838841646"/>
        </pc:sldMkLst>
      </pc:sldChg>
      <pc:sldChg chg="del">
        <pc:chgData name="Lars Linderholm" userId="23c7dd44-0682-4e3d-bb2a-998893d37c87" providerId="ADAL" clId="{D641B9F7-FE36-4BFD-85EE-AECE9AB1794A}" dt="2025-09-16T13:50:15.209" v="25" actId="47"/>
        <pc:sldMkLst>
          <pc:docMk/>
          <pc:sldMk cId="1154465469" sldId="838841648"/>
        </pc:sldMkLst>
      </pc:sldChg>
      <pc:sldChg chg="del">
        <pc:chgData name="Lars Linderholm" userId="23c7dd44-0682-4e3d-bb2a-998893d37c87" providerId="ADAL" clId="{D641B9F7-FE36-4BFD-85EE-AECE9AB1794A}" dt="2025-09-16T13:50:15.209" v="25" actId="47"/>
        <pc:sldMkLst>
          <pc:docMk/>
          <pc:sldMk cId="856799411" sldId="838841650"/>
        </pc:sldMkLst>
      </pc:sldChg>
      <pc:sldChg chg="del">
        <pc:chgData name="Lars Linderholm" userId="23c7dd44-0682-4e3d-bb2a-998893d37c87" providerId="ADAL" clId="{D641B9F7-FE36-4BFD-85EE-AECE9AB1794A}" dt="2025-09-16T13:50:15.209" v="25" actId="47"/>
        <pc:sldMkLst>
          <pc:docMk/>
          <pc:sldMk cId="2395348811" sldId="838841651"/>
        </pc:sldMkLst>
      </pc:sldChg>
      <pc:sldChg chg="del">
        <pc:chgData name="Lars Linderholm" userId="23c7dd44-0682-4e3d-bb2a-998893d37c87" providerId="ADAL" clId="{D641B9F7-FE36-4BFD-85EE-AECE9AB1794A}" dt="2025-09-16T13:50:15.209" v="25" actId="47"/>
        <pc:sldMkLst>
          <pc:docMk/>
          <pc:sldMk cId="1043411685" sldId="838841657"/>
        </pc:sldMkLst>
      </pc:sldChg>
      <pc:sldChg chg="del">
        <pc:chgData name="Lars Linderholm" userId="23c7dd44-0682-4e3d-bb2a-998893d37c87" providerId="ADAL" clId="{D641B9F7-FE36-4BFD-85EE-AECE9AB1794A}" dt="2025-09-16T13:50:15.209" v="25" actId="47"/>
        <pc:sldMkLst>
          <pc:docMk/>
          <pc:sldMk cId="469123842" sldId="838841658"/>
        </pc:sldMkLst>
      </pc:sldChg>
      <pc:sldChg chg="del">
        <pc:chgData name="Lars Linderholm" userId="23c7dd44-0682-4e3d-bb2a-998893d37c87" providerId="ADAL" clId="{D641B9F7-FE36-4BFD-85EE-AECE9AB1794A}" dt="2025-09-16T13:50:15.209" v="25" actId="47"/>
        <pc:sldMkLst>
          <pc:docMk/>
          <pc:sldMk cId="2417574407" sldId="838841659"/>
        </pc:sldMkLst>
      </pc:sldChg>
      <pc:sldChg chg="del">
        <pc:chgData name="Lars Linderholm" userId="23c7dd44-0682-4e3d-bb2a-998893d37c87" providerId="ADAL" clId="{D641B9F7-FE36-4BFD-85EE-AECE9AB1794A}" dt="2025-09-16T13:50:15.209" v="25" actId="47"/>
        <pc:sldMkLst>
          <pc:docMk/>
          <pc:sldMk cId="2351025486" sldId="838841662"/>
        </pc:sldMkLst>
      </pc:sldChg>
      <pc:sldChg chg="del">
        <pc:chgData name="Lars Linderholm" userId="23c7dd44-0682-4e3d-bb2a-998893d37c87" providerId="ADAL" clId="{D641B9F7-FE36-4BFD-85EE-AECE9AB1794A}" dt="2025-09-16T13:50:15.209" v="25" actId="47"/>
        <pc:sldMkLst>
          <pc:docMk/>
          <pc:sldMk cId="2099627351" sldId="838841663"/>
        </pc:sldMkLst>
      </pc:sldChg>
      <pc:sldChg chg="del">
        <pc:chgData name="Lars Linderholm" userId="23c7dd44-0682-4e3d-bb2a-998893d37c87" providerId="ADAL" clId="{D641B9F7-FE36-4BFD-85EE-AECE9AB1794A}" dt="2025-09-16T13:50:15.209" v="25" actId="47"/>
        <pc:sldMkLst>
          <pc:docMk/>
          <pc:sldMk cId="1728695647" sldId="838841664"/>
        </pc:sldMkLst>
      </pc:sldChg>
      <pc:sldChg chg="del">
        <pc:chgData name="Lars Linderholm" userId="23c7dd44-0682-4e3d-bb2a-998893d37c87" providerId="ADAL" clId="{D641B9F7-FE36-4BFD-85EE-AECE9AB1794A}" dt="2025-09-16T13:50:15.209" v="25" actId="47"/>
        <pc:sldMkLst>
          <pc:docMk/>
          <pc:sldMk cId="3859094643" sldId="838841666"/>
        </pc:sldMkLst>
      </pc:sldChg>
      <pc:sldChg chg="del">
        <pc:chgData name="Lars Linderholm" userId="23c7dd44-0682-4e3d-bb2a-998893d37c87" providerId="ADAL" clId="{D641B9F7-FE36-4BFD-85EE-AECE9AB1794A}" dt="2025-09-16T13:50:15.209" v="25" actId="47"/>
        <pc:sldMkLst>
          <pc:docMk/>
          <pc:sldMk cId="2881592592" sldId="838841667"/>
        </pc:sldMkLst>
      </pc:sldChg>
      <pc:sldChg chg="del">
        <pc:chgData name="Lars Linderholm" userId="23c7dd44-0682-4e3d-bb2a-998893d37c87" providerId="ADAL" clId="{D641B9F7-FE36-4BFD-85EE-AECE9AB1794A}" dt="2025-09-16T13:50:15.209" v="25" actId="47"/>
        <pc:sldMkLst>
          <pc:docMk/>
          <pc:sldMk cId="4122479181" sldId="838841671"/>
        </pc:sldMkLst>
      </pc:sldChg>
      <pc:sldChg chg="del">
        <pc:chgData name="Lars Linderholm" userId="23c7dd44-0682-4e3d-bb2a-998893d37c87" providerId="ADAL" clId="{D641B9F7-FE36-4BFD-85EE-AECE9AB1794A}" dt="2025-09-16T13:50:15.209" v="25" actId="47"/>
        <pc:sldMkLst>
          <pc:docMk/>
          <pc:sldMk cId="3456409386" sldId="838841672"/>
        </pc:sldMkLst>
      </pc:sldChg>
      <pc:sldChg chg="del">
        <pc:chgData name="Lars Linderholm" userId="23c7dd44-0682-4e3d-bb2a-998893d37c87" providerId="ADAL" clId="{D641B9F7-FE36-4BFD-85EE-AECE9AB1794A}" dt="2025-09-16T13:50:15.209" v="25" actId="47"/>
        <pc:sldMkLst>
          <pc:docMk/>
          <pc:sldMk cId="3382989372" sldId="838841674"/>
        </pc:sldMkLst>
      </pc:sldChg>
      <pc:sldChg chg="del">
        <pc:chgData name="Lars Linderholm" userId="23c7dd44-0682-4e3d-bb2a-998893d37c87" providerId="ADAL" clId="{D641B9F7-FE36-4BFD-85EE-AECE9AB1794A}" dt="2025-09-16T13:50:15.209" v="25" actId="47"/>
        <pc:sldMkLst>
          <pc:docMk/>
          <pc:sldMk cId="604827814" sldId="838841677"/>
        </pc:sldMkLst>
      </pc:sldChg>
      <pc:sldChg chg="del">
        <pc:chgData name="Lars Linderholm" userId="23c7dd44-0682-4e3d-bb2a-998893d37c87" providerId="ADAL" clId="{D641B9F7-FE36-4BFD-85EE-AECE9AB1794A}" dt="2025-09-16T13:50:15.209" v="25" actId="47"/>
        <pc:sldMkLst>
          <pc:docMk/>
          <pc:sldMk cId="3299159609" sldId="838841678"/>
        </pc:sldMkLst>
      </pc:sldChg>
      <pc:sldChg chg="del">
        <pc:chgData name="Lars Linderholm" userId="23c7dd44-0682-4e3d-bb2a-998893d37c87" providerId="ADAL" clId="{D641B9F7-FE36-4BFD-85EE-AECE9AB1794A}" dt="2025-09-16T13:50:15.209" v="25" actId="47"/>
        <pc:sldMkLst>
          <pc:docMk/>
          <pc:sldMk cId="1332201999" sldId="838841680"/>
        </pc:sldMkLst>
      </pc:sldChg>
      <pc:sldChg chg="del">
        <pc:chgData name="Lars Linderholm" userId="23c7dd44-0682-4e3d-bb2a-998893d37c87" providerId="ADAL" clId="{D641B9F7-FE36-4BFD-85EE-AECE9AB1794A}" dt="2025-09-16T13:50:15.209" v="25" actId="47"/>
        <pc:sldMkLst>
          <pc:docMk/>
          <pc:sldMk cId="3104721185" sldId="838841684"/>
        </pc:sldMkLst>
      </pc:sldChg>
      <pc:sldChg chg="del">
        <pc:chgData name="Lars Linderholm" userId="23c7dd44-0682-4e3d-bb2a-998893d37c87" providerId="ADAL" clId="{D641B9F7-FE36-4BFD-85EE-AECE9AB1794A}" dt="2025-09-16T13:50:15.209" v="25" actId="47"/>
        <pc:sldMkLst>
          <pc:docMk/>
          <pc:sldMk cId="2665242730" sldId="838841686"/>
        </pc:sldMkLst>
      </pc:sldChg>
      <pc:sldChg chg="del">
        <pc:chgData name="Lars Linderholm" userId="23c7dd44-0682-4e3d-bb2a-998893d37c87" providerId="ADAL" clId="{D641B9F7-FE36-4BFD-85EE-AECE9AB1794A}" dt="2025-09-16T13:50:15.209" v="25" actId="47"/>
        <pc:sldMkLst>
          <pc:docMk/>
          <pc:sldMk cId="979483384" sldId="838841687"/>
        </pc:sldMkLst>
      </pc:sldChg>
      <pc:sldChg chg="del">
        <pc:chgData name="Lars Linderholm" userId="23c7dd44-0682-4e3d-bb2a-998893d37c87" providerId="ADAL" clId="{D641B9F7-FE36-4BFD-85EE-AECE9AB1794A}" dt="2025-09-16T13:50:15.209" v="25" actId="47"/>
        <pc:sldMkLst>
          <pc:docMk/>
          <pc:sldMk cId="2092179823" sldId="838841730"/>
        </pc:sldMkLst>
      </pc:sldChg>
      <pc:sldChg chg="del">
        <pc:chgData name="Lars Linderholm" userId="23c7dd44-0682-4e3d-bb2a-998893d37c87" providerId="ADAL" clId="{D641B9F7-FE36-4BFD-85EE-AECE9AB1794A}" dt="2025-09-16T13:50:15.209" v="25" actId="47"/>
        <pc:sldMkLst>
          <pc:docMk/>
          <pc:sldMk cId="104416630" sldId="838841736"/>
        </pc:sldMkLst>
      </pc:sldChg>
      <pc:sldChg chg="del">
        <pc:chgData name="Lars Linderholm" userId="23c7dd44-0682-4e3d-bb2a-998893d37c87" providerId="ADAL" clId="{D641B9F7-FE36-4BFD-85EE-AECE9AB1794A}" dt="2025-09-16T13:50:15.209" v="25" actId="47"/>
        <pc:sldMkLst>
          <pc:docMk/>
          <pc:sldMk cId="3114479975" sldId="838841737"/>
        </pc:sldMkLst>
      </pc:sldChg>
      <pc:sldChg chg="del">
        <pc:chgData name="Lars Linderholm" userId="23c7dd44-0682-4e3d-bb2a-998893d37c87" providerId="ADAL" clId="{D641B9F7-FE36-4BFD-85EE-AECE9AB1794A}" dt="2025-09-16T13:50:15.209" v="25" actId="47"/>
        <pc:sldMkLst>
          <pc:docMk/>
          <pc:sldMk cId="2905658297" sldId="838841738"/>
        </pc:sldMkLst>
      </pc:sldChg>
      <pc:sldChg chg="delSp mod">
        <pc:chgData name="Lars Linderholm" userId="23c7dd44-0682-4e3d-bb2a-998893d37c87" providerId="ADAL" clId="{D641B9F7-FE36-4BFD-85EE-AECE9AB1794A}" dt="2025-09-16T13:49:11.232" v="17" actId="478"/>
        <pc:sldMkLst>
          <pc:docMk/>
          <pc:sldMk cId="376242530" sldId="2141413443"/>
        </pc:sldMkLst>
        <pc:picChg chg="del">
          <ac:chgData name="Lars Linderholm" userId="23c7dd44-0682-4e3d-bb2a-998893d37c87" providerId="ADAL" clId="{D641B9F7-FE36-4BFD-85EE-AECE9AB1794A}" dt="2025-09-16T13:49:11.232" v="17" actId="478"/>
          <ac:picMkLst>
            <pc:docMk/>
            <pc:sldMk cId="376242530" sldId="2141413443"/>
            <ac:picMk id="17" creationId="{714017E7-7310-4438-A5C1-3F7A0B66E9D2}"/>
          </ac:picMkLst>
        </pc:picChg>
      </pc:sldChg>
      <pc:sldChg chg="delSp mod">
        <pc:chgData name="Lars Linderholm" userId="23c7dd44-0682-4e3d-bb2a-998893d37c87" providerId="ADAL" clId="{D641B9F7-FE36-4BFD-85EE-AECE9AB1794A}" dt="2025-09-16T13:49:30.679" v="19" actId="478"/>
        <pc:sldMkLst>
          <pc:docMk/>
          <pc:sldMk cId="332284427" sldId="2141413454"/>
        </pc:sldMkLst>
        <pc:picChg chg="del">
          <ac:chgData name="Lars Linderholm" userId="23c7dd44-0682-4e3d-bb2a-998893d37c87" providerId="ADAL" clId="{D641B9F7-FE36-4BFD-85EE-AECE9AB1794A}" dt="2025-09-16T13:49:30.679" v="19" actId="478"/>
          <ac:picMkLst>
            <pc:docMk/>
            <pc:sldMk cId="332284427" sldId="2141413454"/>
            <ac:picMk id="3" creationId="{4084F138-E4B0-4D09-864C-98F3A425F5B7}"/>
          </ac:picMkLst>
        </pc:picChg>
      </pc:sldChg>
      <pc:sldChg chg="del">
        <pc:chgData name="Lars Linderholm" userId="23c7dd44-0682-4e3d-bb2a-998893d37c87" providerId="ADAL" clId="{D641B9F7-FE36-4BFD-85EE-AECE9AB1794A}" dt="2025-09-16T13:49:40.444" v="22" actId="47"/>
        <pc:sldMkLst>
          <pc:docMk/>
          <pc:sldMk cId="4058430942" sldId="2141413456"/>
        </pc:sldMkLst>
      </pc:sldChg>
      <pc:sldChg chg="del">
        <pc:chgData name="Lars Linderholm" userId="23c7dd44-0682-4e3d-bb2a-998893d37c87" providerId="ADAL" clId="{D641B9F7-FE36-4BFD-85EE-AECE9AB1794A}" dt="2025-09-16T13:50:15.209" v="25" actId="47"/>
        <pc:sldMkLst>
          <pc:docMk/>
          <pc:sldMk cId="697142078" sldId="2141413535"/>
        </pc:sldMkLst>
      </pc:sldChg>
      <pc:sldChg chg="del">
        <pc:chgData name="Lars Linderholm" userId="23c7dd44-0682-4e3d-bb2a-998893d37c87" providerId="ADAL" clId="{D641B9F7-FE36-4BFD-85EE-AECE9AB1794A}" dt="2025-09-16T13:50:15.209" v="25" actId="47"/>
        <pc:sldMkLst>
          <pc:docMk/>
          <pc:sldMk cId="14686109" sldId="2141413540"/>
        </pc:sldMkLst>
      </pc:sldChg>
      <pc:sldChg chg="del">
        <pc:chgData name="Lars Linderholm" userId="23c7dd44-0682-4e3d-bb2a-998893d37c87" providerId="ADAL" clId="{D641B9F7-FE36-4BFD-85EE-AECE9AB1794A}" dt="2025-09-16T13:50:31.347" v="26" actId="47"/>
        <pc:sldMkLst>
          <pc:docMk/>
          <pc:sldMk cId="600215691" sldId="2141413542"/>
        </pc:sldMkLst>
      </pc:sldChg>
      <pc:sldChg chg="del">
        <pc:chgData name="Lars Linderholm" userId="23c7dd44-0682-4e3d-bb2a-998893d37c87" providerId="ADAL" clId="{D641B9F7-FE36-4BFD-85EE-AECE9AB1794A}" dt="2025-09-16T13:47:04.217" v="5" actId="47"/>
        <pc:sldMkLst>
          <pc:docMk/>
          <pc:sldMk cId="233213008" sldId="2141413543"/>
        </pc:sldMkLst>
      </pc:sldChg>
      <pc:sldChg chg="del">
        <pc:chgData name="Lars Linderholm" userId="23c7dd44-0682-4e3d-bb2a-998893d37c87" providerId="ADAL" clId="{D641B9F7-FE36-4BFD-85EE-AECE9AB1794A}" dt="2025-09-16T13:47:04.217" v="5" actId="47"/>
        <pc:sldMkLst>
          <pc:docMk/>
          <pc:sldMk cId="2009974599" sldId="2141413544"/>
        </pc:sldMkLst>
      </pc:sldChg>
      <pc:sldChg chg="del">
        <pc:chgData name="Lars Linderholm" userId="23c7dd44-0682-4e3d-bb2a-998893d37c87" providerId="ADAL" clId="{D641B9F7-FE36-4BFD-85EE-AECE9AB1794A}" dt="2025-09-16T13:47:04.217" v="5" actId="47"/>
        <pc:sldMkLst>
          <pc:docMk/>
          <pc:sldMk cId="2043290864" sldId="2141413545"/>
        </pc:sldMkLst>
      </pc:sldChg>
      <pc:sldChg chg="del">
        <pc:chgData name="Lars Linderholm" userId="23c7dd44-0682-4e3d-bb2a-998893d37c87" providerId="ADAL" clId="{D641B9F7-FE36-4BFD-85EE-AECE9AB1794A}" dt="2025-09-16T13:47:04.217" v="5" actId="47"/>
        <pc:sldMkLst>
          <pc:docMk/>
          <pc:sldMk cId="873603562" sldId="2141413546"/>
        </pc:sldMkLst>
      </pc:sldChg>
      <pc:sldChg chg="del">
        <pc:chgData name="Lars Linderholm" userId="23c7dd44-0682-4e3d-bb2a-998893d37c87" providerId="ADAL" clId="{D641B9F7-FE36-4BFD-85EE-AECE9AB1794A}" dt="2025-09-16T13:47:04.217" v="5" actId="47"/>
        <pc:sldMkLst>
          <pc:docMk/>
          <pc:sldMk cId="501658448" sldId="2141413547"/>
        </pc:sldMkLst>
      </pc:sldChg>
      <pc:sldChg chg="del">
        <pc:chgData name="Lars Linderholm" userId="23c7dd44-0682-4e3d-bb2a-998893d37c87" providerId="ADAL" clId="{D641B9F7-FE36-4BFD-85EE-AECE9AB1794A}" dt="2025-09-16T13:47:04.217" v="5" actId="47"/>
        <pc:sldMkLst>
          <pc:docMk/>
          <pc:sldMk cId="2465032996" sldId="2141413548"/>
        </pc:sldMkLst>
      </pc:sldChg>
      <pc:sldChg chg="del">
        <pc:chgData name="Lars Linderholm" userId="23c7dd44-0682-4e3d-bb2a-998893d37c87" providerId="ADAL" clId="{D641B9F7-FE36-4BFD-85EE-AECE9AB1794A}" dt="2025-09-16T13:47:06.991" v="6" actId="47"/>
        <pc:sldMkLst>
          <pc:docMk/>
          <pc:sldMk cId="1848830567" sldId="2141413550"/>
        </pc:sldMkLst>
      </pc:sldChg>
      <pc:sldChg chg="del">
        <pc:chgData name="Lars Linderholm" userId="23c7dd44-0682-4e3d-bb2a-998893d37c87" providerId="ADAL" clId="{D641B9F7-FE36-4BFD-85EE-AECE9AB1794A}" dt="2025-09-16T13:49:42.593" v="23" actId="47"/>
        <pc:sldMkLst>
          <pc:docMk/>
          <pc:sldMk cId="3949149723" sldId="2141413551"/>
        </pc:sldMkLst>
      </pc:sldChg>
      <pc:sldChg chg="del">
        <pc:chgData name="Lars Linderholm" userId="23c7dd44-0682-4e3d-bb2a-998893d37c87" providerId="ADAL" clId="{D641B9F7-FE36-4BFD-85EE-AECE9AB1794A}" dt="2025-09-16T13:49:44.598" v="24" actId="47"/>
        <pc:sldMkLst>
          <pc:docMk/>
          <pc:sldMk cId="1185198375" sldId="2141413552"/>
        </pc:sldMkLst>
      </pc:sldChg>
      <pc:sldChg chg="del">
        <pc:chgData name="Lars Linderholm" userId="23c7dd44-0682-4e3d-bb2a-998893d37c87" providerId="ADAL" clId="{D641B9F7-FE36-4BFD-85EE-AECE9AB1794A}" dt="2025-09-16T13:50:15.209" v="25" actId="47"/>
        <pc:sldMkLst>
          <pc:docMk/>
          <pc:sldMk cId="4266425473" sldId="2141413555"/>
        </pc:sldMkLst>
      </pc:sldChg>
      <pc:sldChg chg="del">
        <pc:chgData name="Lars Linderholm" userId="23c7dd44-0682-4e3d-bb2a-998893d37c87" providerId="ADAL" clId="{D641B9F7-FE36-4BFD-85EE-AECE9AB1794A}" dt="2025-09-16T13:50:15.209" v="25" actId="47"/>
        <pc:sldMkLst>
          <pc:docMk/>
          <pc:sldMk cId="912605703" sldId="2141413556"/>
        </pc:sldMkLst>
      </pc:sldChg>
      <pc:sldChg chg="del">
        <pc:chgData name="Lars Linderholm" userId="23c7dd44-0682-4e3d-bb2a-998893d37c87" providerId="ADAL" clId="{D641B9F7-FE36-4BFD-85EE-AECE9AB1794A}" dt="2025-09-16T13:50:15.209" v="25" actId="47"/>
        <pc:sldMkLst>
          <pc:docMk/>
          <pc:sldMk cId="1955152431" sldId="2141413558"/>
        </pc:sldMkLst>
      </pc:sldChg>
      <pc:sldChg chg="del">
        <pc:chgData name="Lars Linderholm" userId="23c7dd44-0682-4e3d-bb2a-998893d37c87" providerId="ADAL" clId="{D641B9F7-FE36-4BFD-85EE-AECE9AB1794A}" dt="2025-09-16T13:50:15.209" v="25" actId="47"/>
        <pc:sldMkLst>
          <pc:docMk/>
          <pc:sldMk cId="1621620266" sldId="2141413559"/>
        </pc:sldMkLst>
      </pc:sldChg>
      <pc:sldChg chg="del">
        <pc:chgData name="Lars Linderholm" userId="23c7dd44-0682-4e3d-bb2a-998893d37c87" providerId="ADAL" clId="{D641B9F7-FE36-4BFD-85EE-AECE9AB1794A}" dt="2025-09-16T13:46:49.816" v="1" actId="47"/>
        <pc:sldMkLst>
          <pc:docMk/>
          <pc:sldMk cId="2605613372" sldId="2141413560"/>
        </pc:sldMkLst>
      </pc:sldChg>
      <pc:sldChg chg="del">
        <pc:chgData name="Lars Linderholm" userId="23c7dd44-0682-4e3d-bb2a-998893d37c87" providerId="ADAL" clId="{D641B9F7-FE36-4BFD-85EE-AECE9AB1794A}" dt="2025-09-16T13:46:50.774" v="2" actId="47"/>
        <pc:sldMkLst>
          <pc:docMk/>
          <pc:sldMk cId="671336367" sldId="2141413561"/>
        </pc:sldMkLst>
      </pc:sldChg>
      <pc:sldChg chg="del">
        <pc:chgData name="Lars Linderholm" userId="23c7dd44-0682-4e3d-bb2a-998893d37c87" providerId="ADAL" clId="{D641B9F7-FE36-4BFD-85EE-AECE9AB1794A}" dt="2025-09-16T13:46:51.708" v="3" actId="47"/>
        <pc:sldMkLst>
          <pc:docMk/>
          <pc:sldMk cId="3087007" sldId="2141413562"/>
        </pc:sldMkLst>
      </pc:sldChg>
      <pc:sldChg chg="del">
        <pc:chgData name="Lars Linderholm" userId="23c7dd44-0682-4e3d-bb2a-998893d37c87" providerId="ADAL" clId="{D641B9F7-FE36-4BFD-85EE-AECE9AB1794A}" dt="2025-09-16T13:46:52.442" v="4" actId="47"/>
        <pc:sldMkLst>
          <pc:docMk/>
          <pc:sldMk cId="1101609046" sldId="2141413563"/>
        </pc:sldMkLst>
      </pc:sldChg>
      <pc:sldChg chg="del">
        <pc:chgData name="Lars Linderholm" userId="23c7dd44-0682-4e3d-bb2a-998893d37c87" providerId="ADAL" clId="{D641B9F7-FE36-4BFD-85EE-AECE9AB1794A}" dt="2025-09-16T13:50:15.209" v="25" actId="47"/>
        <pc:sldMkLst>
          <pc:docMk/>
          <pc:sldMk cId="2550412067" sldId="2141413675"/>
        </pc:sldMkLst>
      </pc:sldChg>
      <pc:sldChg chg="delSp mod">
        <pc:chgData name="Lars Linderholm" userId="23c7dd44-0682-4e3d-bb2a-998893d37c87" providerId="ADAL" clId="{D641B9F7-FE36-4BFD-85EE-AECE9AB1794A}" dt="2025-09-16T13:47:18.419" v="7" actId="478"/>
        <pc:sldMkLst>
          <pc:docMk/>
          <pc:sldMk cId="3249647376" sldId="2142533500"/>
        </pc:sldMkLst>
        <pc:picChg chg="del">
          <ac:chgData name="Lars Linderholm" userId="23c7dd44-0682-4e3d-bb2a-998893d37c87" providerId="ADAL" clId="{D641B9F7-FE36-4BFD-85EE-AECE9AB1794A}" dt="2025-09-16T13:47:18.419" v="7" actId="478"/>
          <ac:picMkLst>
            <pc:docMk/>
            <pc:sldMk cId="3249647376" sldId="2142533500"/>
            <ac:picMk id="1026" creationId="{22E36492-6373-B953-5AAF-66E46F2EB0E3}"/>
          </ac:picMkLst>
        </pc:picChg>
      </pc:sldChg>
      <pc:sldChg chg="delSp del mod">
        <pc:chgData name="Lars Linderholm" userId="23c7dd44-0682-4e3d-bb2a-998893d37c87" providerId="ADAL" clId="{D641B9F7-FE36-4BFD-85EE-AECE9AB1794A}" dt="2025-09-16T13:47:56.464" v="9" actId="47"/>
        <pc:sldMkLst>
          <pc:docMk/>
          <pc:sldMk cId="2448840619" sldId="2142533502"/>
        </pc:sldMkLst>
        <pc:picChg chg="del">
          <ac:chgData name="Lars Linderholm" userId="23c7dd44-0682-4e3d-bb2a-998893d37c87" providerId="ADAL" clId="{D641B9F7-FE36-4BFD-85EE-AECE9AB1794A}" dt="2025-09-16T13:47:45.566" v="8" actId="478"/>
          <ac:picMkLst>
            <pc:docMk/>
            <pc:sldMk cId="2448840619" sldId="2142533502"/>
            <ac:picMk id="4098" creationId="{01CFBFBB-07A4-DE67-A848-DDC4C843B96E}"/>
          </ac:picMkLst>
        </pc:picChg>
      </pc:sldChg>
      <pc:sldChg chg="delSp mod">
        <pc:chgData name="Lars Linderholm" userId="23c7dd44-0682-4e3d-bb2a-998893d37c87" providerId="ADAL" clId="{D641B9F7-FE36-4BFD-85EE-AECE9AB1794A}" dt="2025-09-16T13:48:50.120" v="16" actId="478"/>
        <pc:sldMkLst>
          <pc:docMk/>
          <pc:sldMk cId="700485220" sldId="2142533508"/>
        </pc:sldMkLst>
        <pc:picChg chg="del">
          <ac:chgData name="Lars Linderholm" userId="23c7dd44-0682-4e3d-bb2a-998893d37c87" providerId="ADAL" clId="{D641B9F7-FE36-4BFD-85EE-AECE9AB1794A}" dt="2025-09-16T13:48:50.120" v="16" actId="478"/>
          <ac:picMkLst>
            <pc:docMk/>
            <pc:sldMk cId="700485220" sldId="2142533508"/>
            <ac:picMk id="6" creationId="{A1F0B1C5-E71E-60E5-BB09-A25461107E67}"/>
          </ac:picMkLst>
        </pc:picChg>
      </pc:sldChg>
      <pc:sldChg chg="del">
        <pc:chgData name="Lars Linderholm" userId="23c7dd44-0682-4e3d-bb2a-998893d37c87" providerId="ADAL" clId="{D641B9F7-FE36-4BFD-85EE-AECE9AB1794A}" dt="2025-09-16T13:48:44.630" v="15" actId="47"/>
        <pc:sldMkLst>
          <pc:docMk/>
          <pc:sldMk cId="2836468817" sldId="2142533510"/>
        </pc:sldMkLst>
      </pc:sldChg>
      <pc:sldChg chg="del">
        <pc:chgData name="Lars Linderholm" userId="23c7dd44-0682-4e3d-bb2a-998893d37c87" providerId="ADAL" clId="{D641B9F7-FE36-4BFD-85EE-AECE9AB1794A}" dt="2025-09-16T13:49:35.844" v="20" actId="47"/>
        <pc:sldMkLst>
          <pc:docMk/>
          <pc:sldMk cId="1952880503" sldId="2142533511"/>
        </pc:sldMkLst>
      </pc:sldChg>
      <pc:sldChg chg="del">
        <pc:chgData name="Lars Linderholm" userId="23c7dd44-0682-4e3d-bb2a-998893d37c87" providerId="ADAL" clId="{D641B9F7-FE36-4BFD-85EE-AECE9AB1794A}" dt="2025-09-16T13:49:37.595" v="21" actId="47"/>
        <pc:sldMkLst>
          <pc:docMk/>
          <pc:sldMk cId="1580216154" sldId="2142533512"/>
        </pc:sldMkLst>
      </pc:sldChg>
      <pc:sldChg chg="del">
        <pc:chgData name="Lars Linderholm" userId="23c7dd44-0682-4e3d-bb2a-998893d37c87" providerId="ADAL" clId="{D641B9F7-FE36-4BFD-85EE-AECE9AB1794A}" dt="2025-09-16T13:47:59.132" v="10" actId="47"/>
        <pc:sldMkLst>
          <pc:docMk/>
          <pc:sldMk cId="47757602" sldId="2142533513"/>
        </pc:sldMkLst>
      </pc:sldChg>
      <pc:sldChg chg="del">
        <pc:chgData name="Lars Linderholm" userId="23c7dd44-0682-4e3d-bb2a-998893d37c87" providerId="ADAL" clId="{D641B9F7-FE36-4BFD-85EE-AECE9AB1794A}" dt="2025-09-16T13:48:05.202" v="11" actId="47"/>
        <pc:sldMkLst>
          <pc:docMk/>
          <pc:sldMk cId="3013975701" sldId="2142533514"/>
        </pc:sldMkLst>
      </pc:sldChg>
      <pc:sldChg chg="del">
        <pc:chgData name="Lars Linderholm" userId="23c7dd44-0682-4e3d-bb2a-998893d37c87" providerId="ADAL" clId="{D641B9F7-FE36-4BFD-85EE-AECE9AB1794A}" dt="2025-09-16T13:49:18.684" v="18" actId="47"/>
        <pc:sldMkLst>
          <pc:docMk/>
          <pc:sldMk cId="1121325633" sldId="2142533515"/>
        </pc:sldMkLst>
      </pc:sldChg>
      <pc:sldMasterChg chg="del delSldLayout">
        <pc:chgData name="Lars Linderholm" userId="23c7dd44-0682-4e3d-bb2a-998893d37c87" providerId="ADAL" clId="{D641B9F7-FE36-4BFD-85EE-AECE9AB1794A}" dt="2025-09-16T13:50:15.209" v="25" actId="47"/>
        <pc:sldMasterMkLst>
          <pc:docMk/>
          <pc:sldMasterMk cId="605120402" sldId="2147483700"/>
        </pc:sldMasterMkLst>
        <pc:sldLayoutChg chg="del">
          <pc:chgData name="Lars Linderholm" userId="23c7dd44-0682-4e3d-bb2a-998893d37c87" providerId="ADAL" clId="{D641B9F7-FE36-4BFD-85EE-AECE9AB1794A}" dt="2025-09-16T13:50:15.209" v="25" actId="47"/>
          <pc:sldLayoutMkLst>
            <pc:docMk/>
            <pc:sldMasterMk cId="605120402" sldId="2147483700"/>
            <pc:sldLayoutMk cId="2086638640" sldId="2147483701"/>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722528826" sldId="2147483702"/>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670814802" sldId="2147483703"/>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76039213" sldId="2147483704"/>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96663732" sldId="2147483705"/>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133755526" sldId="2147483706"/>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073124461" sldId="2147483707"/>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382903921" sldId="2147483708"/>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830682516" sldId="2147483709"/>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716119865" sldId="2147483710"/>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630984833" sldId="2147483711"/>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263514862" sldId="2147483712"/>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816917417" sldId="2147483713"/>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914664468" sldId="2147483714"/>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739002251" sldId="2147483715"/>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338860076" sldId="2147483716"/>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425792409" sldId="2147483717"/>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423187505" sldId="2147483718"/>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1405204747" sldId="2147483719"/>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583090275" sldId="2147483720"/>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3168226911" sldId="2147483721"/>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946796002" sldId="2147483722"/>
          </pc:sldLayoutMkLst>
        </pc:sldLayoutChg>
        <pc:sldLayoutChg chg="del">
          <pc:chgData name="Lars Linderholm" userId="23c7dd44-0682-4e3d-bb2a-998893d37c87" providerId="ADAL" clId="{D641B9F7-FE36-4BFD-85EE-AECE9AB1794A}" dt="2025-09-16T13:50:15.209" v="25" actId="47"/>
          <pc:sldLayoutMkLst>
            <pc:docMk/>
            <pc:sldMasterMk cId="605120402" sldId="2147483700"/>
            <pc:sldLayoutMk cId="2819110120" sldId="2147483723"/>
          </pc:sldLayoutMkLst>
        </pc:sldLayoutChg>
      </pc:sldMasterChg>
      <pc:sldMasterChg chg="del delSldLayout">
        <pc:chgData name="Lars Linderholm" userId="23c7dd44-0682-4e3d-bb2a-998893d37c87" providerId="ADAL" clId="{D641B9F7-FE36-4BFD-85EE-AECE9AB1794A}" dt="2025-09-16T13:50:15.209" v="25" actId="47"/>
        <pc:sldMasterMkLst>
          <pc:docMk/>
          <pc:sldMasterMk cId="2396135066" sldId="2147483724"/>
        </pc:sldMasterMkLst>
        <pc:sldLayoutChg chg="del">
          <pc:chgData name="Lars Linderholm" userId="23c7dd44-0682-4e3d-bb2a-998893d37c87" providerId="ADAL" clId="{D641B9F7-FE36-4BFD-85EE-AECE9AB1794A}" dt="2025-09-16T13:50:15.209" v="25" actId="47"/>
          <pc:sldLayoutMkLst>
            <pc:docMk/>
            <pc:sldMasterMk cId="2396135066" sldId="2147483724"/>
            <pc:sldLayoutMk cId="3694652756" sldId="2147483725"/>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539826432" sldId="2147483726"/>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780003789" sldId="2147483727"/>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008822298" sldId="2147483728"/>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457375580" sldId="2147483729"/>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397124436" sldId="2147483730"/>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751139327" sldId="2147483731"/>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089269347" sldId="2147483732"/>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3432588647" sldId="2147483733"/>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824163964" sldId="2147483734"/>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948176846" sldId="2147483735"/>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365242867" sldId="2147483736"/>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753460433" sldId="2147483737"/>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3074082989" sldId="2147483738"/>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891555951" sldId="2147483739"/>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765312965" sldId="2147483740"/>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3174481232" sldId="2147483741"/>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584666998" sldId="2147483742"/>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638221487" sldId="2147483743"/>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2273230587" sldId="2147483744"/>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4032957519" sldId="2147483745"/>
          </pc:sldLayoutMkLst>
        </pc:sldLayoutChg>
        <pc:sldLayoutChg chg="del">
          <pc:chgData name="Lars Linderholm" userId="23c7dd44-0682-4e3d-bb2a-998893d37c87" providerId="ADAL" clId="{D641B9F7-FE36-4BFD-85EE-AECE9AB1794A}" dt="2025-09-16T13:50:15.209" v="25" actId="47"/>
          <pc:sldLayoutMkLst>
            <pc:docMk/>
            <pc:sldMasterMk cId="2396135066" sldId="2147483724"/>
            <pc:sldLayoutMk cId="1193775329" sldId="214748374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li 2025 - Ændring i forhold til samme måned året før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clustered"/>
        <c:varyColors val="0"/>
        <c:ser>
          <c:idx val="0"/>
          <c:order val="0"/>
          <c:tx>
            <c:strRef>
              <c:f>'Ark1'!$F$10</c:f>
              <c:strCache>
                <c:ptCount val="1"/>
                <c:pt idx="0">
                  <c:v>Juli 2025   </c:v>
                </c:pt>
              </c:strCache>
            </c:strRef>
          </c:tx>
          <c:spPr>
            <a:solidFill>
              <a:schemeClr val="accent1"/>
            </a:solidFill>
            <a:ln>
              <a:noFill/>
            </a:ln>
            <a:effectLst/>
          </c:spPr>
          <c:invertIfNegative val="0"/>
          <c:cat>
            <c:strRef>
              <c:f>'Ark1'!$E$11:$E$16</c:f>
              <c:strCache>
                <c:ptCount val="6"/>
                <c:pt idx="0">
                  <c:v>Fødevarer og ikke-alkoholiske drikkevarer</c:v>
                </c:pt>
                <c:pt idx="1">
                  <c:v>Okse- og kalvekød   </c:v>
                </c:pt>
                <c:pt idx="2">
                  <c:v>Mælk, ost og æg   </c:v>
                </c:pt>
                <c:pt idx="3">
                  <c:v>Smør   </c:v>
                </c:pt>
                <c:pt idx="4">
                  <c:v>Chokolade   </c:v>
                </c:pt>
                <c:pt idx="5">
                  <c:v>Kaffe   </c:v>
                </c:pt>
              </c:strCache>
            </c:strRef>
          </c:cat>
          <c:val>
            <c:numRef>
              <c:f>'Ark1'!$F$11:$F$16</c:f>
              <c:numCache>
                <c:formatCode>0.0%</c:formatCode>
                <c:ptCount val="6"/>
                <c:pt idx="0">
                  <c:v>6.5000000000000002E-2</c:v>
                </c:pt>
                <c:pt idx="1">
                  <c:v>0.20899999999999999</c:v>
                </c:pt>
                <c:pt idx="2">
                  <c:v>9.3000000000000013E-2</c:v>
                </c:pt>
                <c:pt idx="3">
                  <c:v>0.17199999999999999</c:v>
                </c:pt>
                <c:pt idx="4">
                  <c:v>0.2</c:v>
                </c:pt>
                <c:pt idx="5">
                  <c:v>0.32100000000000001</c:v>
                </c:pt>
              </c:numCache>
            </c:numRef>
          </c:val>
          <c:extLst>
            <c:ext xmlns:c16="http://schemas.microsoft.com/office/drawing/2014/chart" uri="{C3380CC4-5D6E-409C-BE32-E72D297353CC}">
              <c16:uniqueId val="{00000000-7A08-4A8E-97FB-4935B94A66D0}"/>
            </c:ext>
          </c:extLst>
        </c:ser>
        <c:dLbls>
          <c:showLegendKey val="0"/>
          <c:showVal val="0"/>
          <c:showCatName val="0"/>
          <c:showSerName val="0"/>
          <c:showPercent val="0"/>
          <c:showBubbleSize val="0"/>
        </c:dLbls>
        <c:gapWidth val="219"/>
        <c:overlap val="-27"/>
        <c:axId val="1820163952"/>
        <c:axId val="1820162032"/>
      </c:barChart>
      <c:catAx>
        <c:axId val="182016395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da-DK"/>
          </a:p>
        </c:txPr>
        <c:crossAx val="1820162032"/>
        <c:crosses val="autoZero"/>
        <c:auto val="1"/>
        <c:lblAlgn val="ctr"/>
        <c:lblOffset val="100"/>
        <c:noMultiLvlLbl val="0"/>
      </c:catAx>
      <c:valAx>
        <c:axId val="182016203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8201639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0"/>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2" y="2"/>
            <a:ext cx="4309110" cy="341463"/>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5632689" y="2"/>
            <a:ext cx="4309110" cy="341463"/>
          </a:xfrm>
          <a:prstGeom prst="rect">
            <a:avLst/>
          </a:prstGeom>
        </p:spPr>
        <p:txBody>
          <a:bodyPr vert="horz" lIns="91440" tIns="45720" rIns="91440" bIns="45720" rtlCol="0"/>
          <a:lstStyle>
            <a:lvl1pPr algn="r">
              <a:defRPr sz="1200"/>
            </a:lvl1pPr>
          </a:lstStyle>
          <a:p>
            <a:fld id="{8C062806-1435-451F-A1A0-33F32AB28C79}" type="datetimeFigureOut">
              <a:rPr lang="da-DK" smtClean="0"/>
              <a:t>16-09-2025</a:t>
            </a:fld>
            <a:endParaRPr lang="da-DK"/>
          </a:p>
        </p:txBody>
      </p:sp>
      <p:sp>
        <p:nvSpPr>
          <p:cNvPr id="4" name="Pladsholder til slidebillede 3"/>
          <p:cNvSpPr>
            <a:spLocks noGrp="1" noRot="1" noChangeAspect="1"/>
          </p:cNvSpPr>
          <p:nvPr>
            <p:ph type="sldImg" idx="2"/>
          </p:nvPr>
        </p:nvSpPr>
        <p:spPr>
          <a:xfrm>
            <a:off x="2930525" y="850900"/>
            <a:ext cx="4083050" cy="2297113"/>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94411" y="3275201"/>
            <a:ext cx="7955279" cy="2679710"/>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2" y="6464152"/>
            <a:ext cx="4309110" cy="341462"/>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5632689" y="6464152"/>
            <a:ext cx="4309110" cy="341462"/>
          </a:xfrm>
          <a:prstGeom prst="rect">
            <a:avLst/>
          </a:prstGeom>
        </p:spPr>
        <p:txBody>
          <a:bodyPr vert="horz" lIns="91440" tIns="45720" rIns="91440" bIns="45720" rtlCol="0" anchor="b"/>
          <a:lstStyle>
            <a:lvl1pPr algn="r">
              <a:defRPr sz="1200"/>
            </a:lvl1pPr>
          </a:lstStyle>
          <a:p>
            <a:fld id="{E8B23C5F-1057-4D02-8278-9373A9252565}" type="slidenum">
              <a:rPr lang="da-DK" smtClean="0"/>
              <a:t>‹nr.›</a:t>
            </a:fld>
            <a:endParaRPr lang="da-DK"/>
          </a:p>
        </p:txBody>
      </p:sp>
    </p:spTree>
    <p:extLst>
      <p:ext uri="{BB962C8B-B14F-4D97-AF65-F5344CB8AC3E}">
        <p14:creationId xmlns:p14="http://schemas.microsoft.com/office/powerpoint/2010/main" val="2040468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1</a:t>
            </a:fld>
            <a:endParaRPr lang="da-DK"/>
          </a:p>
        </p:txBody>
      </p:sp>
    </p:spTree>
    <p:extLst>
      <p:ext uri="{BB962C8B-B14F-4D97-AF65-F5344CB8AC3E}">
        <p14:creationId xmlns:p14="http://schemas.microsoft.com/office/powerpoint/2010/main" val="1832474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Tx/>
              <a:buNone/>
            </a:pPr>
            <a:r>
              <a:rPr lang="da-DK"/>
              <a:t>I forlængelse af snakken om dårlig normering på plejehjem, som risikerer at have konsekvenser for både plejen og omsorgen, er det også på sin plads at nævne, at vi i sekretariatet har nedsat en ny arbejdsgruppe.</a:t>
            </a:r>
          </a:p>
          <a:p>
            <a:pPr marL="0" indent="0">
              <a:buFontTx/>
              <a:buNone/>
            </a:pPr>
            <a:endParaRPr lang="da-DK"/>
          </a:p>
          <a:p>
            <a:pPr marL="171450" indent="-171450">
              <a:buFontTx/>
              <a:buChar char="-"/>
            </a:pPr>
            <a:r>
              <a:rPr lang="da-DK"/>
              <a:t>I Ældre Sagens sekretariat er der ultimo 2024 nedsat en mindre arbejdsgruppe på tværs af afdelinger, som beskæftiger sig med omsorgssvigt i ældreplejen og sundhedsvæsenet.</a:t>
            </a:r>
          </a:p>
          <a:p>
            <a:pPr marL="171450" indent="-171450">
              <a:buFontTx/>
              <a:buChar char="-"/>
            </a:pPr>
            <a:endParaRPr lang="da-DK"/>
          </a:p>
          <a:p>
            <a:pPr marL="171450" indent="-171450">
              <a:buFontTx/>
              <a:buChar char="-"/>
            </a:pPr>
            <a:r>
              <a:rPr lang="da-DK"/>
              <a:t>Arbejdsgruppen er nedsat efter Ældre Sagens Rådgivning gennem mere end 1 år systematisk har registreret henvendelser om omsorgssvigt, efter de oplevede en markant stigning i antallet.</a:t>
            </a:r>
          </a:p>
          <a:p>
            <a:pPr marL="171450" indent="-171450">
              <a:buFontTx/>
              <a:buChar char="-"/>
            </a:pPr>
            <a:endParaRPr lang="da-DK"/>
          </a:p>
          <a:p>
            <a:pPr marL="171450" indent="-171450">
              <a:buFontTx/>
              <a:buChar char="-"/>
            </a:pPr>
            <a:r>
              <a:rPr lang="da-DK"/>
              <a:t>Det er historier som vidner om massive og helt uacceptable omsorgssvigt både på plejehjem, i hjemmeplejen, hos egen læge og i samarbejdet med den øvrige sundhedssektor. Og det er historier i et omfang som gør at ingen kan henvise til det som ”enkeltstående tilfælde”.</a:t>
            </a:r>
          </a:p>
          <a:p>
            <a:pPr marL="171450" indent="-171450">
              <a:buFontTx/>
              <a:buChar char="-"/>
            </a:pPr>
            <a:endParaRPr lang="da-DK"/>
          </a:p>
          <a:p>
            <a:pPr marL="171450" indent="-171450">
              <a:buFontTx/>
              <a:buChar char="-"/>
            </a:pPr>
            <a:r>
              <a:rPr lang="da-DK"/>
              <a:t>Ældre Sagens rådgivere hjælper altid dem der henvender sig på bedste vis, men det er os magtpåliggende at bringe vores viden til Christiansborg, for at give indsigt i disse alvorlige og helt uacceptable historier, som vidner om et stærkt presset ældrepleje. </a:t>
            </a:r>
          </a:p>
          <a:p>
            <a:pPr marL="171450" indent="-171450">
              <a:buFontTx/>
              <a:buChar char="-"/>
            </a:pPr>
            <a:endParaRPr lang="da-DK"/>
          </a:p>
          <a:p>
            <a:pPr marL="171450" indent="-171450">
              <a:buFontTx/>
              <a:buChar char="-"/>
            </a:pPr>
            <a:r>
              <a:rPr lang="da-DK"/>
              <a:t>I juni 2025 har vi derfor anmodet om et foretræde for Folketingets Ældreudvalg, hvor vi kan fremlægge vores bekymring og komme med vores konkrete forslag til hvordan forholdene kan forbedres. Aktuelt afventer vi stadig at få en konkret dato.</a:t>
            </a:r>
          </a:p>
          <a:p>
            <a:pPr marL="171450" indent="-171450">
              <a:buFontTx/>
              <a:buChar char="-"/>
            </a:pPr>
            <a:endParaRPr lang="da-DK"/>
          </a:p>
          <a:p>
            <a:pPr marL="171450" indent="-171450">
              <a:buFontTx/>
              <a:buChar char="-"/>
            </a:pPr>
            <a:r>
              <a:rPr lang="da-DK"/>
              <a:t>Som Ældre Sagen og som de svækkede – og svigtede – ældres stemme, er vi nødt til at råbe op.</a:t>
            </a:r>
          </a:p>
        </p:txBody>
      </p:sp>
      <p:sp>
        <p:nvSpPr>
          <p:cNvPr id="4" name="Pladsholder til slidenummer 3"/>
          <p:cNvSpPr>
            <a:spLocks noGrp="1"/>
          </p:cNvSpPr>
          <p:nvPr>
            <p:ph type="sldNum" sz="quarter" idx="5"/>
          </p:nvPr>
        </p:nvSpPr>
        <p:spPr/>
        <p:txBody>
          <a:bodyPr/>
          <a:lstStyle/>
          <a:p>
            <a:fld id="{C2C98BBF-BBF0-4DE9-8547-883D9E224976}" type="slidenum">
              <a:rPr lang="da-DK" smtClean="0"/>
              <a:t>10</a:t>
            </a:fld>
            <a:endParaRPr lang="da-DK"/>
          </a:p>
        </p:txBody>
      </p:sp>
    </p:spTree>
    <p:extLst>
      <p:ext uri="{BB962C8B-B14F-4D97-AF65-F5344CB8AC3E}">
        <p14:creationId xmlns:p14="http://schemas.microsoft.com/office/powerpoint/2010/main" val="2286941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Status på Sundhedsreformen er at det går stærkt – der er ny lovgivning, der skal formuleres; imens faglige oplæg med inddragelse af aktører i Sundhedsstyrelsen som baggrund for lovarbejdet udvikles sideløbende  - og politikerne i Folketinget skal vedtage ny lov, når folketinget åbner igen til oktober.</a:t>
            </a:r>
          </a:p>
          <a:p>
            <a:r>
              <a:rPr lang="da-DK"/>
              <a:t>Der har været indtil flere høringer henover sommeren relateret til sundhedsreformen:</a:t>
            </a:r>
          </a:p>
          <a:p>
            <a:endParaRPr lang="da-DK"/>
          </a:p>
          <a:p>
            <a:r>
              <a:rPr lang="da-DK"/>
              <a:t>Helt overordnet kæmper vi for, at ældre og sundhedsområdet hænger sammen så godt som muligt. </a:t>
            </a:r>
          </a:p>
          <a:p>
            <a:r>
              <a:rPr lang="da-DK"/>
              <a:t>Konkret s</a:t>
            </a:r>
            <a:r>
              <a:rPr lang="da-DK" b="0" i="0">
                <a:solidFill>
                  <a:srgbClr val="192B37"/>
                </a:solidFill>
                <a:effectLst/>
                <a:latin typeface="IBM Plex Sans" panose="020B0503050203000203" pitchFamily="34" charset="0"/>
              </a:rPr>
              <a:t>er vi positivt på den nye struktur i sundhedsvæsenet med sundhedsråd og opgaver som dele af sygeplejen, dele af genoptræningen og midlertidige pladser, der flyttes til et regionalt ansvar, så der ad den vej er mulighed for bedre sammenhæng og mindre kassetænkning. Vores kommentarer i høringssvar har rettet sig mod at sikre sammenhæng, ensartet kvalitet, brugerinddragelse og lokal repræsentation. </a:t>
            </a:r>
          </a:p>
          <a:p>
            <a:r>
              <a:rPr lang="da-DK" b="0" i="0">
                <a:solidFill>
                  <a:srgbClr val="192B37"/>
                </a:solidFill>
                <a:effectLst/>
                <a:latin typeface="IBM Plex Sans" panose="020B0503050203000203" pitchFamily="34" charset="0"/>
              </a:rPr>
              <a:t>Vi ser positivt på digitale løsninger, så længe det er en ret og ikke en pligt. </a:t>
            </a:r>
          </a:p>
          <a:p>
            <a:r>
              <a:rPr lang="da-DK" b="0" i="0">
                <a:solidFill>
                  <a:srgbClr val="192B37"/>
                </a:solidFill>
                <a:effectLst/>
                <a:latin typeface="IBM Plex Sans" panose="020B0503050203000203" pitchFamily="34" charset="0"/>
              </a:rPr>
              <a:t>Vi ser positivt på flere læger i almen praksis fra 3500 i dag til 5000 i 2035. Og vi har på den anden side af sommerens intense debat om almen praksis afgivet et høringssvar, der både søger at anerkende den vigtige rolle almen praksis har som en hjørnesten i det nære sundhedsvæsen og behov for, at der også sker nytænkning af egen læges rolle. Fx opfordrer vi til at egen læge kan henvise til ældrepleje, genoptræning og sygepleje samt dække plejehjem med fast tilknyttede læger. Men vi har generelt opfordret til at udviklingen sker i dialog med læger – og i dialog med repræsentanter for patienter og pårørende.</a:t>
            </a:r>
          </a:p>
          <a:p>
            <a:endParaRPr lang="da-DK" b="0" i="0">
              <a:solidFill>
                <a:srgbClr val="192B37"/>
              </a:solidFill>
              <a:effectLst/>
              <a:latin typeface="IBM Plex Sans" panose="020B0503050203000203" pitchFamily="34" charset="0"/>
            </a:endParaRPr>
          </a:p>
          <a:p>
            <a:r>
              <a:rPr lang="da-DK" b="0" i="0">
                <a:solidFill>
                  <a:srgbClr val="192B37"/>
                </a:solidFill>
                <a:effectLst/>
                <a:latin typeface="IBM Plex Sans" panose="020B0503050203000203" pitchFamily="34" charset="0"/>
              </a:rPr>
              <a:t>Vi er løbende i dialog med andre organisationer, bl.a. Danske Patienter, samt politikere – senest et møde med ministeren. Så vi forfølger hele tiden arbejdet med sundhedsreformen – og der er både flere høringer og lovbehandling i sigte i det kommende halve år. Vi er også aktive i Sundhedsstyrelsens følgegrupper til faglige oplæg til hhv. kronikerpakker, opgavebeskrivelsen for almen praksis og rammer for en national sundhedsplan, hvor vi kæmper for at få ældres behov med i de forskellige oplæg.</a:t>
            </a:r>
          </a:p>
          <a:p>
            <a:r>
              <a:rPr lang="da-DK" b="0" i="0">
                <a:solidFill>
                  <a:srgbClr val="192B37"/>
                </a:solidFill>
                <a:effectLst/>
                <a:latin typeface="IBM Plex Sans" panose="020B0503050203000203" pitchFamily="34" charset="0"/>
              </a:rPr>
              <a:t>Vores høringssvar før ferien bar frugt – vi fik 17 i stedet for 4 patient- og pårørendeudvalg. De skal fungere fra 2027 – og vi arbejder på løsning, så vi allerede i løbet af 2026 forbereder os på at være klar til dialog med de kommende sundhedsråd. Derfor er der brug for ny organisering i Ældre Sagen.</a:t>
            </a:r>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11</a:t>
            </a:fld>
            <a:endParaRPr lang="da-DK"/>
          </a:p>
        </p:txBody>
      </p:sp>
    </p:spTree>
    <p:extLst>
      <p:ext uri="{BB962C8B-B14F-4D97-AF65-F5344CB8AC3E}">
        <p14:creationId xmlns:p14="http://schemas.microsoft.com/office/powerpoint/2010/main" val="1164451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Med den ny sundhedslov vil der ske store forandringer i vores sundhedsvæsen. Sundhedsloven vil blandt andet få stor indflydelse på, hvordan det nære sundhedsvæsen kommer til at fungere i fremtiden. Det vil naturligvis få betydning for Ældre Sagens fremtidige ældre- og sundhedspolitiske arbejde.</a:t>
            </a:r>
          </a:p>
          <a:p>
            <a:endParaRPr lang="da-DK"/>
          </a:p>
          <a:p>
            <a:r>
              <a:rPr lang="da-DK"/>
              <a:t>De helt store forandringer går først og fremmest på, at vi går fra fem til fire regioner, når Region Hovedstaden og Region Sjælland slås sammen til Region Østdanmark.  </a:t>
            </a:r>
          </a:p>
          <a:p>
            <a:r>
              <a:rPr lang="da-DK"/>
              <a:t>Med målet om at styrke det nære sundhedsvæsen, vil der i tilknytning til hver region oprettes i alt 17 sundhedsråd, som skal bestå af politisk valgte repræsentanter fra regionsrådet og kommunerne fra sundhedsrådets geografiske område. </a:t>
            </a:r>
          </a:p>
          <a:p>
            <a:r>
              <a:rPr lang="da-DK"/>
              <a:t>De 17 sundhedsråd kan I se på billedet til højre, og her kan man se, at der kan være stor forskel på, hvor mange sundhedsråd, der er i hver region. Fx er der kun 2 sundhedsråd i Region Nordjylland, hvorimod Region Østdanmark kommer til at have 6 sundhedsråd.</a:t>
            </a:r>
          </a:p>
          <a:p>
            <a:endParaRPr lang="da-DK"/>
          </a:p>
          <a:p>
            <a:r>
              <a:rPr lang="da-DK"/>
              <a:t>Ældre Sagens nuværende organisering af det lokalpolitiske indflydelsesarbejde matcher ikke den ny organisering af sundhedsvæsen, og for at sikre Ældre Sagens stemme og indflydelse lokalt, har det derfor været relevant at se på organiseringen af det </a:t>
            </a:r>
            <a:r>
              <a:rPr lang="da-DK" b="0"/>
              <a:t>lokalpolitiske arbejde. Et </a:t>
            </a:r>
            <a:r>
              <a:rPr lang="da-DK"/>
              <a:t>ad hoc udvalg har i 2025 derfor i løbet af foråret arbejdet på forslag til en ny organisering. </a:t>
            </a:r>
          </a:p>
        </p:txBody>
      </p:sp>
      <p:sp>
        <p:nvSpPr>
          <p:cNvPr id="4" name="Slide Number Placeholder 3"/>
          <p:cNvSpPr>
            <a:spLocks noGrp="1"/>
          </p:cNvSpPr>
          <p:nvPr>
            <p:ph type="sldNum" sz="quarter" idx="5"/>
          </p:nvPr>
        </p:nvSpPr>
        <p:spPr/>
        <p:txBody>
          <a:bodyPr/>
          <a:lstStyle/>
          <a:p>
            <a:fld id="{C2C98BBF-BBF0-4DE9-8547-883D9E224976}" type="slidenum">
              <a:rPr lang="da-DK" smtClean="0"/>
              <a:t>12</a:t>
            </a:fld>
            <a:endParaRPr lang="da-DK"/>
          </a:p>
        </p:txBody>
      </p:sp>
    </p:spTree>
    <p:extLst>
      <p:ext uri="{BB962C8B-B14F-4D97-AF65-F5344CB8AC3E}">
        <p14:creationId xmlns:p14="http://schemas.microsoft.com/office/powerpoint/2010/main" val="1619475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13</a:t>
            </a:fld>
            <a:endParaRPr lang="da-DK"/>
          </a:p>
        </p:txBody>
      </p:sp>
    </p:spTree>
    <p:extLst>
      <p:ext uri="{BB962C8B-B14F-4D97-AF65-F5344CB8AC3E}">
        <p14:creationId xmlns:p14="http://schemas.microsoft.com/office/powerpoint/2010/main" val="1028707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Danmarkskort:</a:t>
            </a:r>
          </a:p>
          <a:p>
            <a:r>
              <a:rPr lang="da-DK"/>
              <a:t>Mørkeblå farve: Fald på mere end 6 %</a:t>
            </a:r>
          </a:p>
          <a:p>
            <a:r>
              <a:rPr lang="da-DK"/>
              <a:t>Lyseblå farve: Fald på 3-6 %</a:t>
            </a:r>
          </a:p>
          <a:p>
            <a:r>
              <a:rPr lang="da-DK"/>
              <a:t>Lys grå farve: Fald på op til 3 %</a:t>
            </a:r>
          </a:p>
          <a:p>
            <a:r>
              <a:rPr lang="da-DK"/>
              <a:t>Grøn farve: Uændret eller stigning</a:t>
            </a:r>
          </a:p>
          <a:p>
            <a:endParaRPr lang="da-DK"/>
          </a:p>
          <a:p>
            <a:endParaRPr lang="da-DK"/>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Vedr.: Sammenligning af udviklingen i ældreudgifterne pr. 80+ årig med udviklingen i kommunens serviceudgifter i alt pr. borger: </a:t>
            </a:r>
            <a:endParaRPr lang="da-DK" sz="1800">
              <a:effectLst/>
              <a:latin typeface="Aptos" panose="020B0004020202020204" pitchFamily="34" charset="0"/>
              <a:ea typeface="Aptos" panose="020B0004020202020204" pitchFamily="34" charset="0"/>
              <a:cs typeface="Aptos" panose="020B0004020202020204" pitchFamily="34" charset="0"/>
            </a:endParaRPr>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 </a:t>
            </a:r>
            <a:endParaRPr lang="da-DK" sz="1800">
              <a:effectLst/>
              <a:latin typeface="Aptos" panose="020B0004020202020204" pitchFamily="34" charset="0"/>
              <a:ea typeface="Aptos" panose="020B0004020202020204" pitchFamily="34" charset="0"/>
              <a:cs typeface="Aptos" panose="020B0004020202020204" pitchFamily="34" charset="0"/>
            </a:endParaRPr>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Tallene viser, at ældreudgifterne pr. 80+ årig falder, mens de samlede serviceudgifter pr. borger stiger i langt de fleste kommuner. </a:t>
            </a:r>
            <a:endParaRPr lang="da-DK" sz="1800">
              <a:effectLst/>
              <a:latin typeface="Aptos" panose="020B0004020202020204" pitchFamily="34" charset="0"/>
              <a:ea typeface="Aptos" panose="020B0004020202020204" pitchFamily="34" charset="0"/>
              <a:cs typeface="Aptos" panose="020B0004020202020204" pitchFamily="34" charset="0"/>
            </a:endParaRPr>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 </a:t>
            </a:r>
            <a:endParaRPr lang="da-DK" sz="1800">
              <a:effectLst/>
              <a:latin typeface="Aptos" panose="020B0004020202020204" pitchFamily="34" charset="0"/>
              <a:ea typeface="Aptos" panose="020B0004020202020204" pitchFamily="34" charset="0"/>
              <a:cs typeface="Aptos" panose="020B0004020202020204" pitchFamily="34" charset="0"/>
            </a:endParaRPr>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Der er altså områder i kommunerne, hvor der tilføres penge pr. borger, mens der er færre penge på ældreområdet pr. 80+ årig. </a:t>
            </a:r>
            <a:endParaRPr lang="da-DK" sz="1800">
              <a:effectLst/>
              <a:latin typeface="Aptos" panose="020B0004020202020204" pitchFamily="34" charset="0"/>
              <a:ea typeface="Aptos" panose="020B0004020202020204" pitchFamily="34" charset="0"/>
              <a:cs typeface="Aptos" panose="020B0004020202020204" pitchFamily="34" charset="0"/>
            </a:endParaRPr>
          </a:p>
          <a:p>
            <a:pPr>
              <a:buNone/>
            </a:pPr>
            <a:r>
              <a:rPr lang="da-DK" sz="1800">
                <a:effectLst/>
                <a:latin typeface="IBM Plex Sans" panose="020B0503050203000203" pitchFamily="34" charset="0"/>
                <a:ea typeface="Aptos" panose="020B0004020202020204" pitchFamily="34" charset="0"/>
                <a:cs typeface="Aptos" panose="020B0004020202020204" pitchFamily="34" charset="0"/>
              </a:rPr>
              <a:t> </a:t>
            </a:r>
            <a:endParaRPr lang="da-DK" sz="1800">
              <a:effectLst/>
              <a:latin typeface="Aptos" panose="020B0004020202020204" pitchFamily="34" charset="0"/>
              <a:ea typeface="Aptos" panose="020B0004020202020204" pitchFamily="34" charset="0"/>
              <a:cs typeface="Aptos" panose="020B0004020202020204" pitchFamily="34" charset="0"/>
            </a:endParaRPr>
          </a:p>
          <a:p>
            <a:r>
              <a:rPr lang="da-DK" sz="1800">
                <a:effectLst/>
                <a:latin typeface="IBM Plex Sans" panose="020B0503050203000203" pitchFamily="34" charset="0"/>
                <a:ea typeface="Aptos" panose="020B0004020202020204" pitchFamily="34" charset="0"/>
                <a:cs typeface="Aptos" panose="020B0004020202020204" pitchFamily="34" charset="0"/>
              </a:rPr>
              <a:t>Det tolker vi som en nedprioritering af ældreområdet.</a:t>
            </a:r>
            <a:endParaRPr lang="da-DK" sz="1800">
              <a:effectLst/>
              <a:latin typeface="Aptos" panose="020B0004020202020204" pitchFamily="34" charset="0"/>
              <a:ea typeface="Aptos" panose="020B0004020202020204" pitchFamily="34" charset="0"/>
              <a:cs typeface="Aptos" panose="020B0004020202020204" pitchFamily="34" charset="0"/>
            </a:endParaRPr>
          </a:p>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14</a:t>
            </a:fld>
            <a:endParaRPr lang="da-DK"/>
          </a:p>
        </p:txBody>
      </p:sp>
    </p:spTree>
    <p:extLst>
      <p:ext uri="{BB962C8B-B14F-4D97-AF65-F5344CB8AC3E}">
        <p14:creationId xmlns:p14="http://schemas.microsoft.com/office/powerpoint/2010/main" val="1619475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1CFB7-D289-889C-B031-7CD86E1D37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86C515-FCBB-6C44-C31F-2C30EE50A5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9B4B4F-080B-60B5-249F-A51159EF982A}"/>
              </a:ext>
            </a:extLst>
          </p:cNvPr>
          <p:cNvSpPr>
            <a:spLocks noGrp="1"/>
          </p:cNvSpPr>
          <p:nvPr>
            <p:ph type="body" idx="1"/>
          </p:nvPr>
        </p:nvSpPr>
        <p:spPr/>
        <p:txBody>
          <a:bodyPr/>
          <a:lstStyle/>
          <a:p>
            <a:pPr>
              <a:lnSpc>
                <a:spcPct val="110000"/>
              </a:lnSpc>
            </a:pPr>
            <a:r>
              <a:rPr lang="en-US" err="1"/>
              <a:t>Forslaget</a:t>
            </a:r>
            <a:r>
              <a:rPr lang="en-US"/>
              <a:t> </a:t>
            </a:r>
            <a:r>
              <a:rPr lang="en-US" err="1"/>
              <a:t>har</a:t>
            </a:r>
            <a:r>
              <a:rPr lang="en-US"/>
              <a:t> den </a:t>
            </a:r>
            <a:r>
              <a:rPr lang="en-US" err="1"/>
              <a:t>fornuftige</a:t>
            </a:r>
            <a:r>
              <a:rPr lang="en-US"/>
              <a:t> </a:t>
            </a:r>
            <a:r>
              <a:rPr lang="en-US" err="1"/>
              <a:t>begrundelse</a:t>
            </a:r>
            <a:r>
              <a:rPr lang="en-US"/>
              <a:t>,</a:t>
            </a:r>
            <a:r>
              <a:rPr lang="da-DK" noProof="0"/>
              <a:t> at når ældrechecken udbetales i januar, kender Udbetaling Danmark ikke formue pr. 1. januar, så der anvendes 1 år gamle formueoplysninger. </a:t>
            </a:r>
          </a:p>
          <a:p>
            <a:pPr>
              <a:lnSpc>
                <a:spcPct val="110000"/>
              </a:lnSpc>
            </a:pPr>
            <a:endParaRPr lang="da-DK" noProof="0"/>
          </a:p>
          <a:p>
            <a:pPr>
              <a:lnSpc>
                <a:spcPct val="110000"/>
              </a:lnSpc>
            </a:pPr>
            <a:r>
              <a:rPr lang="da-DK" noProof="0"/>
              <a:t>For 2023 blev formuen kontrolleret i november 2024. Hvis udbetalingen flyttes til april, kan UDK nå at få formueoplysninger pr. 1. januar (31. december) fra årsopgørelsen. Derved kan ca. 7 – 9.000 udbetalinger af ældrecheck, og efterfølgende tilbagebetalingskrav undgås. </a:t>
            </a:r>
          </a:p>
          <a:p>
            <a:pPr>
              <a:lnSpc>
                <a:spcPct val="110000"/>
              </a:lnSpc>
            </a:pPr>
            <a:endParaRPr lang="da-DK" b="1" noProof="0"/>
          </a:p>
          <a:p>
            <a:pPr>
              <a:lnSpc>
                <a:spcPct val="110000"/>
              </a:lnSpc>
            </a:pPr>
            <a:r>
              <a:rPr lang="da-DK" b="1" noProof="0"/>
              <a:t>Men </a:t>
            </a:r>
            <a:r>
              <a:rPr lang="da-DK" b="0" noProof="0"/>
              <a:t> det store flertal – mere end 250.000 pensionister – der hvert år får den korrekte check, oplever det som en forringelse og en likviditetsmæssig udfordring.</a:t>
            </a:r>
            <a:endParaRPr lang="da-DK" noProof="0"/>
          </a:p>
          <a:p>
            <a:pPr>
              <a:lnSpc>
                <a:spcPct val="110000"/>
              </a:lnSpc>
            </a:pPr>
            <a:r>
              <a:rPr lang="da-DK" noProof="0"/>
              <a:t>Forslaget har været drøftet med Udbetaling Danmark i årevis, men nu fremsættes det uden overgangsregler og med ikrafttræden 2 måneder efter vedtagelsen.</a:t>
            </a:r>
          </a:p>
          <a:p>
            <a:pPr>
              <a:lnSpc>
                <a:spcPct val="110000"/>
              </a:lnSpc>
            </a:pPr>
            <a:endParaRPr lang="da-DK" noProof="0"/>
          </a:p>
          <a:p>
            <a:pPr>
              <a:lnSpc>
                <a:spcPct val="110000"/>
              </a:lnSpc>
            </a:pPr>
            <a:r>
              <a:rPr lang="da-DK" noProof="0"/>
              <a:t>Vi foreslår, at udbetalingen i stedet rykkes </a:t>
            </a:r>
            <a:r>
              <a:rPr lang="da-DK" b="1" noProof="0"/>
              <a:t>frem</a:t>
            </a:r>
            <a:r>
              <a:rPr lang="da-DK" b="0" noProof="0"/>
              <a:t> til december, dvs. fra januar 2027 til december 2026, hvor 2025 formuen er kendt. (Dvs. ældrecheck i både januar og i december 2026).</a:t>
            </a:r>
          </a:p>
          <a:p>
            <a:pPr>
              <a:lnSpc>
                <a:spcPct val="110000"/>
              </a:lnSpc>
            </a:pPr>
            <a:r>
              <a:rPr lang="da-DK" b="0" noProof="0"/>
              <a:t>Fremrykningen giver rent teknisk en engangsudgift på ca. 3 mia. kr. på FL26, derfor det alternative forslag om en låneordning, selv om det ikke virker som om finansministeren føler behov for at spare i 2026. </a:t>
            </a:r>
          </a:p>
          <a:p>
            <a:pPr>
              <a:lnSpc>
                <a:spcPct val="110000"/>
              </a:lnSpc>
            </a:pPr>
            <a:endParaRPr lang="da-DK" b="0" noProof="0"/>
          </a:p>
          <a:p>
            <a:pPr>
              <a:lnSpc>
                <a:spcPct val="110000"/>
              </a:lnSpc>
            </a:pPr>
            <a:r>
              <a:rPr lang="da-DK" b="0" noProof="0"/>
              <a:t>Opdatering 27. august: DF og SF har taget vores bekymring til sig og offentligt udtrykt stor bekymring!</a:t>
            </a:r>
            <a:endParaRPr lang="en-US"/>
          </a:p>
          <a:p>
            <a:pPr>
              <a:lnSpc>
                <a:spcPct val="110000"/>
              </a:lnSpc>
            </a:pPr>
            <a:endParaRPr lang="da-DK"/>
          </a:p>
          <a:p>
            <a:pPr>
              <a:lnSpc>
                <a:spcPct val="110000"/>
              </a:lnSpc>
            </a:pPr>
            <a:endParaRPr lang="da-DK"/>
          </a:p>
          <a:p>
            <a:endParaRPr lang="da-DK"/>
          </a:p>
        </p:txBody>
      </p:sp>
      <p:sp>
        <p:nvSpPr>
          <p:cNvPr id="4" name="Slide Number Placeholder 3">
            <a:extLst>
              <a:ext uri="{FF2B5EF4-FFF2-40B4-BE49-F238E27FC236}">
                <a16:creationId xmlns:a16="http://schemas.microsoft.com/office/drawing/2014/main" id="{C8991D35-425D-3231-EE58-58FE8B4CDA85}"/>
              </a:ext>
            </a:extLst>
          </p:cNvPr>
          <p:cNvSpPr>
            <a:spLocks noGrp="1"/>
          </p:cNvSpPr>
          <p:nvPr>
            <p:ph type="sldNum" sz="quarter" idx="5"/>
          </p:nvPr>
        </p:nvSpPr>
        <p:spPr/>
        <p:txBody>
          <a:bodyPr/>
          <a:lstStyle/>
          <a:p>
            <a:fld id="{C2C98BBF-BBF0-4DE9-8547-883D9E224976}" type="slidenum">
              <a:rPr lang="da-DK" smtClean="0"/>
              <a:t>15</a:t>
            </a:fld>
            <a:endParaRPr lang="da-DK"/>
          </a:p>
        </p:txBody>
      </p:sp>
    </p:spTree>
    <p:extLst>
      <p:ext uri="{BB962C8B-B14F-4D97-AF65-F5344CB8AC3E}">
        <p14:creationId xmlns:p14="http://schemas.microsoft.com/office/powerpoint/2010/main" val="3620320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da-DK" sz="1200" b="0" i="0">
                <a:solidFill>
                  <a:schemeClr val="tx1"/>
                </a:solidFill>
                <a:effectLst/>
                <a:latin typeface="+mj-lt"/>
              </a:rPr>
              <a:t>Ældre Sagen har </a:t>
            </a:r>
            <a:r>
              <a:rPr lang="da-DK" sz="1200">
                <a:solidFill>
                  <a:schemeClr val="tx1"/>
                </a:solidFill>
                <a:latin typeface="+mj-lt"/>
              </a:rPr>
              <a:t>italesat udfordringen med stigende priser </a:t>
            </a:r>
            <a:r>
              <a:rPr lang="da-DK" sz="1200" b="0" i="0">
                <a:solidFill>
                  <a:schemeClr val="tx1"/>
                </a:solidFill>
                <a:effectLst/>
                <a:latin typeface="+mj-lt"/>
              </a:rPr>
              <a:t>i presseindslag.</a:t>
            </a:r>
          </a:p>
          <a:p>
            <a:endParaRPr lang="da-DK" sz="1200"/>
          </a:p>
          <a:p>
            <a:r>
              <a:rPr lang="da-DK" sz="1200">
                <a:solidFill>
                  <a:srgbClr val="000000"/>
                </a:solidFill>
                <a:latin typeface="Aptos" panose="020B0004020202020204" pitchFamily="34" charset="0"/>
              </a:rPr>
              <a:t>Ældre Sagen har sammen med Forbrugerrådet og FH rettet henvendelse til Erhvervsministeren. Det har ført til en genoplivning af det såkaldte "Forum for forbrugerpriser.</a:t>
            </a:r>
          </a:p>
          <a:p>
            <a:endParaRPr lang="da-DK" sz="1200">
              <a:solidFill>
                <a:srgbClr val="000000"/>
              </a:solidFill>
              <a:latin typeface="Aptos" panose="020B0004020202020204" pitchFamily="34" charset="0"/>
            </a:endParaRPr>
          </a:p>
          <a:p>
            <a:r>
              <a:rPr lang="da-DK" sz="1200">
                <a:solidFill>
                  <a:srgbClr val="000000"/>
                </a:solidFill>
                <a:latin typeface="Aptos" panose="020B0004020202020204" pitchFamily="34" charset="0"/>
              </a:rPr>
              <a:t>Ældre Sagen har foreslået at i</a:t>
            </a:r>
            <a:r>
              <a:rPr lang="da-DK" sz="1200" b="0" i="0">
                <a:solidFill>
                  <a:srgbClr val="000000"/>
                </a:solidFill>
                <a:effectLst/>
                <a:latin typeface="IBM Plex Sans" panose="020B0503050203000203" pitchFamily="34" charset="0"/>
              </a:rPr>
              <a:t>ndføre et pensionistfradrag svarende til beskæftigelsesfradraget samt at lette afgifter</a:t>
            </a:r>
            <a:r>
              <a:rPr lang="da-DK" sz="1200">
                <a:solidFill>
                  <a:srgbClr val="000000"/>
                </a:solidFill>
              </a:rPr>
              <a:t>.</a:t>
            </a:r>
          </a:p>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16</a:t>
            </a:fld>
            <a:endParaRPr lang="da-DK"/>
          </a:p>
        </p:txBody>
      </p:sp>
    </p:spTree>
    <p:extLst>
      <p:ext uri="{BB962C8B-B14F-4D97-AF65-F5344CB8AC3E}">
        <p14:creationId xmlns:p14="http://schemas.microsoft.com/office/powerpoint/2010/main" val="2397740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I 2025 er der blev nedsat en arbejdsgruppe i Digitaliseringsministeriet til at finde løsninger imod it-kriminalitet.</a:t>
            </a:r>
          </a:p>
          <a:p>
            <a:endParaRPr lang="da-DK"/>
          </a:p>
          <a:p>
            <a:r>
              <a:rPr lang="da-DK"/>
              <a:t>Arbejdsgruppen består af:</a:t>
            </a:r>
          </a:p>
          <a:p>
            <a:r>
              <a:rPr lang="da-DK"/>
              <a:t>Digitaliseringsministeriet, Erhvervsministeriet, Justitsministeriet, Forbrugerrådet TÆNK, Finans Danmark, Teleindustrien og </a:t>
            </a:r>
            <a:r>
              <a:rPr lang="da-DK" b="1"/>
              <a:t>Ældre Sagen</a:t>
            </a:r>
            <a:r>
              <a:rPr lang="da-DK"/>
              <a:t>.</a:t>
            </a:r>
          </a:p>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17</a:t>
            </a:fld>
            <a:endParaRPr lang="da-DK"/>
          </a:p>
        </p:txBody>
      </p:sp>
    </p:spTree>
    <p:extLst>
      <p:ext uri="{BB962C8B-B14F-4D97-AF65-F5344CB8AC3E}">
        <p14:creationId xmlns:p14="http://schemas.microsoft.com/office/powerpoint/2010/main" val="2397740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18</a:t>
            </a:fld>
            <a:endParaRPr lang="da-DK"/>
          </a:p>
        </p:txBody>
      </p:sp>
    </p:spTree>
    <p:extLst>
      <p:ext uri="{BB962C8B-B14F-4D97-AF65-F5344CB8AC3E}">
        <p14:creationId xmlns:p14="http://schemas.microsoft.com/office/powerpoint/2010/main" val="1832474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19</a:t>
            </a:fld>
            <a:endParaRPr lang="da-DK"/>
          </a:p>
        </p:txBody>
      </p:sp>
    </p:spTree>
    <p:extLst>
      <p:ext uri="{BB962C8B-B14F-4D97-AF65-F5344CB8AC3E}">
        <p14:creationId xmlns:p14="http://schemas.microsoft.com/office/powerpoint/2010/main" val="3182114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C2C98BBF-BBF0-4DE9-8547-883D9E224976}" type="slidenum">
              <a:rPr lang="da-DK" smtClean="0"/>
              <a:t>2</a:t>
            </a:fld>
            <a:endParaRPr lang="da-DK"/>
          </a:p>
        </p:txBody>
      </p:sp>
    </p:spTree>
    <p:extLst>
      <p:ext uri="{BB962C8B-B14F-4D97-AF65-F5344CB8AC3E}">
        <p14:creationId xmlns:p14="http://schemas.microsoft.com/office/powerpoint/2010/main" val="37374115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spcBef>
                <a:spcPts val="600"/>
              </a:spcBef>
              <a:buFont typeface="Arial" panose="020B0604020202020204" pitchFamily="34" charset="0"/>
              <a:buNone/>
            </a:pPr>
            <a:r>
              <a:rPr lang="da-DK" sz="1200" kern="0">
                <a:solidFill>
                  <a:schemeClr val="tx1"/>
                </a:solidFill>
              </a:rPr>
              <a:t>Der er mange ting vi gør godt – og ting vi skal gøre endnu mere ved. De fire områder, vi især skal styrke, er:</a:t>
            </a:r>
          </a:p>
          <a:p>
            <a:pPr marL="0" indent="0">
              <a:spcBef>
                <a:spcPts val="600"/>
              </a:spcBef>
              <a:buFont typeface="Arial" panose="020B0604020202020204" pitchFamily="34" charset="0"/>
              <a:buNone/>
            </a:pPr>
            <a:endParaRPr lang="da-DK" sz="1200" kern="0">
              <a:solidFill>
                <a:schemeClr val="tx1"/>
              </a:solidFill>
            </a:endParaRPr>
          </a:p>
          <a:p>
            <a:pPr marL="228600" indent="-228600">
              <a:spcBef>
                <a:spcPts val="600"/>
              </a:spcBef>
              <a:buFont typeface="+mj-lt"/>
              <a:buAutoNum type="arabicPeriod"/>
            </a:pPr>
            <a:r>
              <a:rPr lang="da-DK" sz="1200" kern="0">
                <a:solidFill>
                  <a:schemeClr val="tx1"/>
                </a:solidFill>
              </a:rPr>
              <a:t>Lokal mobilisering, påvirkning og støtte.</a:t>
            </a:r>
          </a:p>
          <a:p>
            <a:pPr marL="228600" indent="-228600">
              <a:spcBef>
                <a:spcPts val="600"/>
              </a:spcBef>
              <a:buFont typeface="+mj-lt"/>
              <a:buAutoNum type="arabicPeriod"/>
            </a:pPr>
            <a:endParaRPr lang="da-DK" sz="1200" kern="0">
              <a:solidFill>
                <a:schemeClr val="tx1"/>
              </a:solidFill>
            </a:endParaRPr>
          </a:p>
          <a:p>
            <a:pPr marL="228600" indent="-228600">
              <a:spcBef>
                <a:spcPts val="600"/>
              </a:spcBef>
              <a:buFont typeface="+mj-lt"/>
              <a:buAutoNum type="arabicPeriod"/>
            </a:pPr>
            <a:r>
              <a:rPr lang="da-DK" sz="1200" kern="0">
                <a:solidFill>
                  <a:schemeClr val="tx1"/>
                </a:solidFill>
              </a:rPr>
              <a:t>Forskellige behov og forskellige tilgange. </a:t>
            </a:r>
          </a:p>
          <a:p>
            <a:pPr marL="228600" indent="-228600">
              <a:spcBef>
                <a:spcPts val="600"/>
              </a:spcBef>
              <a:buFont typeface="+mj-lt"/>
              <a:buAutoNum type="arabicPeriod"/>
            </a:pPr>
            <a:endParaRPr lang="da-DK" sz="1200" kern="0">
              <a:solidFill>
                <a:schemeClr val="tx1"/>
              </a:solidFill>
            </a:endParaRPr>
          </a:p>
          <a:p>
            <a:pPr marL="228600" indent="-228600">
              <a:spcBef>
                <a:spcPts val="600"/>
              </a:spcBef>
              <a:buFont typeface="+mj-lt"/>
              <a:buAutoNum type="arabicPeriod"/>
            </a:pPr>
            <a:r>
              <a:rPr lang="da-DK" sz="1200" kern="0">
                <a:solidFill>
                  <a:schemeClr val="tx1"/>
                </a:solidFill>
              </a:rPr>
              <a:t>Opbygning af digitale og teknologiske kompetencer.</a:t>
            </a:r>
          </a:p>
          <a:p>
            <a:pPr marL="228600" indent="-228600">
              <a:spcBef>
                <a:spcPts val="600"/>
              </a:spcBef>
              <a:buFont typeface="+mj-lt"/>
              <a:buAutoNum type="arabicPeriod"/>
            </a:pPr>
            <a:endParaRPr lang="da-DK" sz="1200" kern="0">
              <a:solidFill>
                <a:schemeClr val="tx1"/>
              </a:solidFill>
            </a:endParaRPr>
          </a:p>
          <a:p>
            <a:pPr marL="228600" indent="-228600">
              <a:spcBef>
                <a:spcPts val="600"/>
              </a:spcBef>
              <a:buFont typeface="+mj-lt"/>
              <a:buAutoNum type="arabicPeriod"/>
            </a:pPr>
            <a:r>
              <a:rPr lang="da-DK" sz="1200" kern="0">
                <a:solidFill>
                  <a:schemeClr val="tx1"/>
                </a:solidFill>
              </a:rPr>
              <a:t>Ældre Sagen som vidensbank og fremtidsskaber.</a:t>
            </a:r>
          </a:p>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20</a:t>
            </a:fld>
            <a:endParaRPr lang="en-GB"/>
          </a:p>
        </p:txBody>
      </p:sp>
    </p:spTree>
    <p:extLst>
      <p:ext uri="{BB962C8B-B14F-4D97-AF65-F5344CB8AC3E}">
        <p14:creationId xmlns:p14="http://schemas.microsoft.com/office/powerpoint/2010/main" val="20518513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tx1"/>
                </a:solidFill>
                <a:latin typeface="+mj-lt"/>
                <a:sym typeface="Palatino"/>
              </a:rPr>
              <a:t>Grundlæggende i den danske velfærdsmodel og i vores generationskontrakt, at man få hjælp og behandling, når man har brug for det, men:</a:t>
            </a:r>
          </a:p>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21</a:t>
            </a:fld>
            <a:endParaRPr lang="en-GB"/>
          </a:p>
        </p:txBody>
      </p:sp>
    </p:spTree>
    <p:extLst>
      <p:ext uri="{BB962C8B-B14F-4D97-AF65-F5344CB8AC3E}">
        <p14:creationId xmlns:p14="http://schemas.microsoft.com/office/powerpoint/2010/main" val="662887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2</a:t>
            </a:fld>
            <a:endParaRPr lang="da-DK"/>
          </a:p>
        </p:txBody>
      </p:sp>
    </p:spTree>
    <p:extLst>
      <p:ext uri="{BB962C8B-B14F-4D97-AF65-F5344CB8AC3E}">
        <p14:creationId xmlns:p14="http://schemas.microsoft.com/office/powerpoint/2010/main" val="1380042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3</a:t>
            </a:fld>
            <a:endParaRPr lang="da-DK"/>
          </a:p>
        </p:txBody>
      </p:sp>
    </p:spTree>
    <p:extLst>
      <p:ext uri="{BB962C8B-B14F-4D97-AF65-F5344CB8AC3E}">
        <p14:creationId xmlns:p14="http://schemas.microsoft.com/office/powerpoint/2010/main" val="3798964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4</a:t>
            </a:fld>
            <a:endParaRPr lang="da-DK"/>
          </a:p>
        </p:txBody>
      </p:sp>
    </p:spTree>
    <p:extLst>
      <p:ext uri="{BB962C8B-B14F-4D97-AF65-F5344CB8AC3E}">
        <p14:creationId xmlns:p14="http://schemas.microsoft.com/office/powerpoint/2010/main" val="13083799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5</a:t>
            </a:fld>
            <a:endParaRPr lang="da-DK"/>
          </a:p>
        </p:txBody>
      </p:sp>
    </p:spTree>
    <p:extLst>
      <p:ext uri="{BB962C8B-B14F-4D97-AF65-F5344CB8AC3E}">
        <p14:creationId xmlns:p14="http://schemas.microsoft.com/office/powerpoint/2010/main" val="4604627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6</a:t>
            </a:fld>
            <a:endParaRPr lang="da-DK"/>
          </a:p>
        </p:txBody>
      </p:sp>
    </p:spTree>
    <p:extLst>
      <p:ext uri="{BB962C8B-B14F-4D97-AF65-F5344CB8AC3E}">
        <p14:creationId xmlns:p14="http://schemas.microsoft.com/office/powerpoint/2010/main" val="3393756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7</a:t>
            </a:fld>
            <a:endParaRPr lang="da-DK"/>
          </a:p>
        </p:txBody>
      </p:sp>
    </p:spTree>
    <p:extLst>
      <p:ext uri="{BB962C8B-B14F-4D97-AF65-F5344CB8AC3E}">
        <p14:creationId xmlns:p14="http://schemas.microsoft.com/office/powerpoint/2010/main" val="31071276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28</a:t>
            </a:fld>
            <a:endParaRPr lang="da-DK"/>
          </a:p>
        </p:txBody>
      </p:sp>
    </p:spTree>
    <p:extLst>
      <p:ext uri="{BB962C8B-B14F-4D97-AF65-F5344CB8AC3E}">
        <p14:creationId xmlns:p14="http://schemas.microsoft.com/office/powerpoint/2010/main" val="1961891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lang="da-DK" sz="1800">
              <a:effectLst/>
              <a:latin typeface="Georgia" panose="02040502050405020303" pitchFamily="18" charset="0"/>
              <a:ea typeface="Calibri" panose="020F0502020204030204" pitchFamily="34" charset="0"/>
              <a:cs typeface="Times New Roman" panose="02020603050405020304" pitchFamily="18" charset="0"/>
            </a:endParaRPr>
          </a:p>
        </p:txBody>
      </p:sp>
      <p:sp>
        <p:nvSpPr>
          <p:cNvPr id="4" name="Pladsholder til slidenummer 3"/>
          <p:cNvSpPr>
            <a:spLocks noGrp="1"/>
          </p:cNvSpPr>
          <p:nvPr>
            <p:ph type="sldNum" sz="quarter" idx="5"/>
          </p:nvPr>
        </p:nvSpPr>
        <p:spPr/>
        <p:txBody>
          <a:bodyPr/>
          <a:lstStyle/>
          <a:p>
            <a:fld id="{1FF976E1-4833-403A-9B37-0CDBB182D593}" type="slidenum">
              <a:rPr lang="en-GB" smtClean="0"/>
              <a:t>29</a:t>
            </a:fld>
            <a:endParaRPr lang="en-GB"/>
          </a:p>
        </p:txBody>
      </p:sp>
    </p:spTree>
    <p:extLst>
      <p:ext uri="{BB962C8B-B14F-4D97-AF65-F5344CB8AC3E}">
        <p14:creationId xmlns:p14="http://schemas.microsoft.com/office/powerpoint/2010/main" val="3031951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Ældreminister Mette </a:t>
            </a:r>
            <a:r>
              <a:rPr lang="da-DK" err="1"/>
              <a:t>Kierkgaard</a:t>
            </a:r>
            <a:r>
              <a:rPr lang="da-DK"/>
              <a:t> har udnævnt sig selv som ”implementeringsminister”.</a:t>
            </a:r>
          </a:p>
          <a:p>
            <a:endParaRPr lang="da-DK"/>
          </a:p>
          <a:p>
            <a:r>
              <a:rPr lang="da-DK"/>
              <a:t>Og naturligvis skal loven have lov til at blive indført før vi kritiserer den yderligere, men den må og skal ikke være en sovepude og lynafleder for minister og Folketing de næste 5 år!</a:t>
            </a:r>
          </a:p>
          <a:p>
            <a:endParaRPr lang="da-DK"/>
          </a:p>
          <a:p>
            <a:r>
              <a:rPr lang="da-DK"/>
              <a:t>Ældre Sagen fortsætter den konstruktive tone, men vil fortsat råbe op når nødvendigt.</a:t>
            </a:r>
          </a:p>
          <a:p>
            <a:endParaRPr lang="da-DK"/>
          </a:p>
          <a:p>
            <a:r>
              <a:rPr lang="da-DK"/>
              <a:t>Og det viser vores undersøgelser med al tydelighed, at der er behov for. </a:t>
            </a:r>
          </a:p>
        </p:txBody>
      </p:sp>
      <p:sp>
        <p:nvSpPr>
          <p:cNvPr id="4" name="Pladsholder til slidenummer 3"/>
          <p:cNvSpPr>
            <a:spLocks noGrp="1"/>
          </p:cNvSpPr>
          <p:nvPr>
            <p:ph type="sldNum" sz="quarter" idx="5"/>
          </p:nvPr>
        </p:nvSpPr>
        <p:spPr/>
        <p:txBody>
          <a:bodyPr/>
          <a:lstStyle/>
          <a:p>
            <a:fld id="{C2C98BBF-BBF0-4DE9-8547-883D9E224976}" type="slidenum">
              <a:rPr lang="da-DK" smtClean="0"/>
              <a:t>3</a:t>
            </a:fld>
            <a:endParaRPr lang="da-DK"/>
          </a:p>
        </p:txBody>
      </p:sp>
    </p:spTree>
    <p:extLst>
      <p:ext uri="{BB962C8B-B14F-4D97-AF65-F5344CB8AC3E}">
        <p14:creationId xmlns:p14="http://schemas.microsoft.com/office/powerpoint/2010/main" val="2794588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30</a:t>
            </a:fld>
            <a:endParaRPr lang="en-GB"/>
          </a:p>
        </p:txBody>
      </p:sp>
    </p:spTree>
    <p:extLst>
      <p:ext uri="{BB962C8B-B14F-4D97-AF65-F5344CB8AC3E}">
        <p14:creationId xmlns:p14="http://schemas.microsoft.com/office/powerpoint/2010/main" val="19860957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31</a:t>
            </a:fld>
            <a:endParaRPr lang="da-DK"/>
          </a:p>
        </p:txBody>
      </p:sp>
    </p:spTree>
    <p:extLst>
      <p:ext uri="{BB962C8B-B14F-4D97-AF65-F5344CB8AC3E}">
        <p14:creationId xmlns:p14="http://schemas.microsoft.com/office/powerpoint/2010/main" val="15874396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32</a:t>
            </a:fld>
            <a:endParaRPr lang="en-GB"/>
          </a:p>
        </p:txBody>
      </p:sp>
    </p:spTree>
    <p:extLst>
      <p:ext uri="{BB962C8B-B14F-4D97-AF65-F5344CB8AC3E}">
        <p14:creationId xmlns:p14="http://schemas.microsoft.com/office/powerpoint/2010/main" val="35921083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Sekretariatet arbejder målrettet med at målrette aktiviteter, tilbud, kommunikation osv. til de seks forskellige medlemsgrupper</a:t>
            </a:r>
          </a:p>
          <a:p>
            <a:pPr marL="342900" lvl="0" indent="-342900">
              <a:lnSpc>
                <a:spcPct val="107000"/>
              </a:lnSpc>
              <a:spcAft>
                <a:spcPts val="800"/>
              </a:spcAft>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Herunder: Overblik over emnet klima og miljø (interesserer særligt de omverdens-orienterede)</a:t>
            </a:r>
          </a:p>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33</a:t>
            </a:fld>
            <a:endParaRPr lang="en-GB"/>
          </a:p>
        </p:txBody>
      </p:sp>
    </p:spTree>
    <p:extLst>
      <p:ext uri="{BB962C8B-B14F-4D97-AF65-F5344CB8AC3E}">
        <p14:creationId xmlns:p14="http://schemas.microsoft.com/office/powerpoint/2010/main" val="41382535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Fortsat deltagelse i alliancen ADD (Algoritmer, Data og Demokrati) med bl.a. Mandag Morgen</a:t>
            </a:r>
          </a:p>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Nyt brugerpanel ift. at udvikle Ældre Sagens digitale løsninger</a:t>
            </a:r>
          </a:p>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Nyt medlemspanel som supplement til vælgerundersøgelser</a:t>
            </a:r>
          </a:p>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Office 365 udrulles fortsat</a:t>
            </a:r>
          </a:p>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RPA (Robot Proces Automatisering)</a:t>
            </a:r>
          </a:p>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34</a:t>
            </a:fld>
            <a:endParaRPr lang="en-GB"/>
          </a:p>
        </p:txBody>
      </p:sp>
    </p:spTree>
    <p:extLst>
      <p:ext uri="{BB962C8B-B14F-4D97-AF65-F5344CB8AC3E}">
        <p14:creationId xmlns:p14="http://schemas.microsoft.com/office/powerpoint/2010/main" val="4429602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Samarbejde med udvalgte forskere om at kombinere deres specialviden med vores Fremtidsstudie-resultater</a:t>
            </a:r>
          </a:p>
          <a:p>
            <a:pPr marL="342900" lvl="0" indent="-342900">
              <a:lnSpc>
                <a:spcPct val="107000"/>
              </a:lnSpc>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Senat af frivillige, ulønnede eksperter som sparringspartner ift. denne forskningsmæssige overbygning</a:t>
            </a:r>
          </a:p>
          <a:p>
            <a:pPr marL="342900" lvl="0" indent="-342900">
              <a:lnSpc>
                <a:spcPct val="107000"/>
              </a:lnSpc>
              <a:spcAft>
                <a:spcPts val="800"/>
              </a:spcAft>
              <a:buFont typeface="Symbol" panose="05050102010706020507" pitchFamily="18" charset="2"/>
              <a:buChar char=""/>
            </a:pPr>
            <a:r>
              <a:rPr lang="da-DK" sz="1800">
                <a:effectLst/>
                <a:latin typeface="Georgia" panose="02040502050405020303" pitchFamily="18" charset="0"/>
                <a:ea typeface="Calibri" panose="020F0502020204030204" pitchFamily="34" charset="0"/>
                <a:cs typeface="Times New Roman" panose="02020603050405020304" pitchFamily="18" charset="0"/>
              </a:rPr>
              <a:t>Kommunikere stærkere om Ældre Sagens viden og analyser, herunder ”Ældre i tal”</a:t>
            </a:r>
          </a:p>
          <a:p>
            <a:endParaRPr lang="da-DK"/>
          </a:p>
        </p:txBody>
      </p:sp>
      <p:sp>
        <p:nvSpPr>
          <p:cNvPr id="4" name="Pladsholder til slidenummer 3"/>
          <p:cNvSpPr>
            <a:spLocks noGrp="1"/>
          </p:cNvSpPr>
          <p:nvPr>
            <p:ph type="sldNum" sz="quarter" idx="5"/>
          </p:nvPr>
        </p:nvSpPr>
        <p:spPr/>
        <p:txBody>
          <a:bodyPr/>
          <a:lstStyle/>
          <a:p>
            <a:fld id="{1FF976E1-4833-403A-9B37-0CDBB182D593}" type="slidenum">
              <a:rPr lang="en-GB" smtClean="0"/>
              <a:t>35</a:t>
            </a:fld>
            <a:endParaRPr lang="en-GB"/>
          </a:p>
        </p:txBody>
      </p:sp>
    </p:spTree>
    <p:extLst>
      <p:ext uri="{BB962C8B-B14F-4D97-AF65-F5344CB8AC3E}">
        <p14:creationId xmlns:p14="http://schemas.microsoft.com/office/powerpoint/2010/main" val="830075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36</a:t>
            </a:fld>
            <a:endParaRPr lang="da-DK"/>
          </a:p>
        </p:txBody>
      </p:sp>
    </p:spTree>
    <p:extLst>
      <p:ext uri="{BB962C8B-B14F-4D97-AF65-F5344CB8AC3E}">
        <p14:creationId xmlns:p14="http://schemas.microsoft.com/office/powerpoint/2010/main" val="1957581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base"/>
            <a:r>
              <a:rPr lang="da-DK" sz="1000" b="0" i="0" u="none" strike="noStrike" kern="1200">
                <a:solidFill>
                  <a:schemeClr val="tx1"/>
                </a:solidFill>
                <a:effectLst/>
                <a:latin typeface="+mn-lt"/>
                <a:ea typeface="+mn-ea"/>
                <a:cs typeface="+mn-cs"/>
              </a:rPr>
              <a:t>Temaet om akut behov for flere plejehjemspladser kører stadig på højblus og er vigtigere end nogensinde før.</a:t>
            </a:r>
          </a:p>
          <a:p>
            <a:pPr rtl="0" fontAlgn="base"/>
            <a:endParaRPr lang="da-DK" sz="1000" b="0" i="0" u="none" strike="noStrike" kern="1200">
              <a:solidFill>
                <a:schemeClr val="tx1"/>
              </a:solidFill>
              <a:effectLst/>
              <a:latin typeface="+mn-lt"/>
              <a:ea typeface="+mn-ea"/>
              <a:cs typeface="+mn-cs"/>
            </a:endParaRPr>
          </a:p>
          <a:p>
            <a:pPr rtl="0" fontAlgn="base"/>
            <a:r>
              <a:rPr lang="da-DK" sz="1000" b="0" i="0" u="none" strike="noStrike" kern="1200">
                <a:solidFill>
                  <a:schemeClr val="tx1"/>
                </a:solidFill>
                <a:effectLst/>
                <a:latin typeface="+mn-lt"/>
                <a:ea typeface="+mn-ea"/>
                <a:cs typeface="+mn-cs"/>
              </a:rPr>
              <a:t>I 2024 fik </a:t>
            </a:r>
            <a:r>
              <a:rPr lang="da-DK" sz="1000" b="1" i="0" u="none" strike="noStrike" kern="1200">
                <a:solidFill>
                  <a:schemeClr val="tx1"/>
                </a:solidFill>
                <a:effectLst/>
                <a:latin typeface="+mn-lt"/>
                <a:ea typeface="+mn-ea"/>
                <a:cs typeface="+mn-cs"/>
              </a:rPr>
              <a:t>sekretariatet og lokalafdelingerne i fællesskab sat fokus på behovet for flere plejehjemspladser i kommunerne, </a:t>
            </a:r>
            <a:r>
              <a:rPr lang="da-DK" sz="1000" b="0" i="0" u="none" strike="noStrike" kern="1200">
                <a:solidFill>
                  <a:schemeClr val="tx1"/>
                </a:solidFill>
                <a:effectLst/>
                <a:latin typeface="+mn-lt"/>
                <a:ea typeface="+mn-ea"/>
                <a:cs typeface="+mn-cs"/>
              </a:rPr>
              <a:t>under årets Fælles indsats</a:t>
            </a:r>
            <a:r>
              <a:rPr lang="da-DK" sz="1000" b="1" i="0" u="none" strike="noStrike" kern="1200">
                <a:solidFill>
                  <a:schemeClr val="tx1"/>
                </a:solidFill>
                <a:effectLst/>
                <a:latin typeface="+mn-lt"/>
                <a:ea typeface="+mn-ea"/>
                <a:cs typeface="+mn-cs"/>
              </a:rPr>
              <a:t>. </a:t>
            </a:r>
            <a:r>
              <a:rPr lang="en-US" sz="1000" b="0" i="0" kern="1200">
                <a:solidFill>
                  <a:schemeClr val="tx1"/>
                </a:solidFill>
                <a:effectLst/>
                <a:latin typeface="+mn-lt"/>
                <a:ea typeface="+mn-ea"/>
                <a:cs typeface="+mn-cs"/>
              </a:rPr>
              <a:t>​</a:t>
            </a:r>
          </a:p>
          <a:p>
            <a:pPr rtl="0" fontAlgn="base"/>
            <a:r>
              <a:rPr lang="da-DK" sz="1000" b="0" i="0" kern="1200">
                <a:solidFill>
                  <a:schemeClr val="tx1"/>
                </a:solidFill>
                <a:effectLst/>
                <a:latin typeface="+mn-lt"/>
                <a:ea typeface="+mn-ea"/>
                <a:cs typeface="+mn-cs"/>
              </a:rPr>
              <a:t>​P</a:t>
            </a:r>
            <a:r>
              <a:rPr lang="da-DK" sz="1000" b="0" i="0" u="none" strike="noStrike" kern="1200">
                <a:solidFill>
                  <a:schemeClr val="tx1"/>
                </a:solidFill>
                <a:effectLst/>
                <a:latin typeface="+mn-lt"/>
                <a:ea typeface="+mn-ea"/>
                <a:cs typeface="+mn-cs"/>
              </a:rPr>
              <a:t>olitikerne i byråd og kommunalbestyrelser blev gjort opmærksomme på, at kommunerne står overfor store udfordringer med at sikre, at de har nok plejehjemspladser set i forhold til den demografiske udvikling. </a:t>
            </a:r>
          </a:p>
          <a:p>
            <a:pPr rtl="0" fontAlgn="base"/>
            <a:endParaRPr lang="da-DK" sz="1000" b="0" i="0" u="none" strike="noStrike" kern="1200">
              <a:solidFill>
                <a:schemeClr val="tx1"/>
              </a:solidFill>
              <a:effectLst/>
              <a:latin typeface="+mn-lt"/>
              <a:ea typeface="+mn-ea"/>
              <a:cs typeface="+mn-cs"/>
            </a:endParaRPr>
          </a:p>
          <a:p>
            <a:pPr rtl="0" fontAlgn="base"/>
            <a:r>
              <a:rPr lang="da-DK" sz="1000" b="0" i="0" u="sng" strike="noStrike" kern="1200">
                <a:solidFill>
                  <a:schemeClr val="tx1"/>
                </a:solidFill>
                <a:effectLst/>
                <a:latin typeface="+mn-lt"/>
                <a:ea typeface="+mn-ea"/>
                <a:cs typeface="+mn-cs"/>
              </a:rPr>
              <a:t>Desværre kunne vi da vi trak nye tal i foråret 2025, se at situationen kun var yderligere forværret:</a:t>
            </a:r>
          </a:p>
          <a:p>
            <a:pPr marL="171450" indent="-171450" rtl="0" fontAlgn="base">
              <a:buFontTx/>
              <a:buChar char="-"/>
            </a:pPr>
            <a:endParaRPr lang="da-DK" sz="1000" b="0" i="0" u="none" strike="noStrike" kern="1200">
              <a:solidFill>
                <a:schemeClr val="tx1"/>
              </a:solidFill>
              <a:effectLst/>
              <a:latin typeface="+mn-lt"/>
              <a:ea typeface="+mn-ea"/>
              <a:cs typeface="+mn-cs"/>
            </a:endParaRPr>
          </a:p>
          <a:p>
            <a:pPr marL="171450" indent="-171450" rtl="0" fontAlgn="base">
              <a:buFontTx/>
              <a:buChar char="-"/>
            </a:pPr>
            <a:r>
              <a:rPr lang="da-DK" sz="1000" b="0" i="0" u="none" strike="noStrike" kern="1200">
                <a:solidFill>
                  <a:schemeClr val="tx1"/>
                </a:solidFill>
                <a:effectLst/>
                <a:latin typeface="+mn-lt"/>
                <a:ea typeface="+mn-ea"/>
                <a:cs typeface="+mn-cs"/>
              </a:rPr>
              <a:t>I 2025 var der på landsplan 201 færre (!) plejehjemspladser end året før. Så ikke bare er kapaciteten ikke øget – den er derimod faldet.</a:t>
            </a:r>
          </a:p>
          <a:p>
            <a:pPr marL="171450" indent="-171450" rtl="0" fontAlgn="base">
              <a:buFontTx/>
              <a:buChar char="-"/>
            </a:pPr>
            <a:endParaRPr lang="da-DK" sz="1000" b="0" i="0" u="none" strike="noStrike" kern="1200">
              <a:solidFill>
                <a:schemeClr val="tx1"/>
              </a:solidFill>
              <a:effectLst/>
              <a:latin typeface="+mn-lt"/>
              <a:ea typeface="+mn-ea"/>
              <a:cs typeface="+mn-cs"/>
            </a:endParaRPr>
          </a:p>
          <a:p>
            <a:pPr marL="171450" indent="-171450" rtl="0" fontAlgn="base">
              <a:buFontTx/>
              <a:buChar char="-"/>
            </a:pPr>
            <a:r>
              <a:rPr lang="da-DK" sz="1000" b="0" i="0" u="none" strike="noStrike" kern="1200">
                <a:solidFill>
                  <a:schemeClr val="tx1"/>
                </a:solidFill>
                <a:effectLst/>
                <a:latin typeface="+mn-lt"/>
                <a:ea typeface="+mn-ea"/>
                <a:cs typeface="+mn-cs"/>
              </a:rPr>
              <a:t>Med en samtidig vækst i antallet af 80+ årige på 19.462 personer, betyder det at også dækningsgraden endnu en gang er faldet: fra 14% pr. 80+ årig i 2024, til 13% i 2025 (i 2012 var den på 20%).</a:t>
            </a:r>
          </a:p>
          <a:p>
            <a:pPr marL="171450" indent="-171450" rtl="0" fontAlgn="base">
              <a:buFontTx/>
              <a:buChar char="-"/>
            </a:pPr>
            <a:endParaRPr lang="da-DK" sz="1000" b="0" i="0" u="none" strike="noStrike" kern="1200">
              <a:solidFill>
                <a:schemeClr val="tx1"/>
              </a:solidFill>
              <a:effectLst/>
              <a:latin typeface="+mn-lt"/>
              <a:ea typeface="+mn-ea"/>
              <a:cs typeface="+mn-cs"/>
            </a:endParaRPr>
          </a:p>
          <a:p>
            <a:pPr marL="171450" indent="-171450" rtl="0" fontAlgn="base">
              <a:buFontTx/>
              <a:buChar char="-"/>
            </a:pPr>
            <a:r>
              <a:rPr lang="da-DK" sz="1200" b="0" i="0" u="none" strike="noStrike" kern="1200">
                <a:solidFill>
                  <a:schemeClr val="tx1"/>
                </a:solidFill>
                <a:effectLst/>
                <a:latin typeface="+mn-lt"/>
                <a:ea typeface="+mn-ea"/>
                <a:cs typeface="+mn-cs"/>
              </a:rPr>
              <a:t>Fra 2024 til 2025 er dækningsgraden for antal plejehjemspladser ift. antal 80+ årige faldet i 91 ud af 98 kommuner.</a:t>
            </a:r>
            <a:endParaRPr lang="en-US" sz="1200" b="0" i="0" kern="1200">
              <a:solidFill>
                <a:schemeClr val="tx1"/>
              </a:solidFill>
              <a:effectLst/>
              <a:latin typeface="+mn-lt"/>
              <a:ea typeface="+mn-ea"/>
              <a:cs typeface="+mn-cs"/>
            </a:endParaRPr>
          </a:p>
          <a:p>
            <a:pPr rtl="0" fontAlgn="base"/>
            <a:endParaRPr lang="da-DK" sz="1000" b="0" i="0" u="none" strike="noStrike" kern="1200">
              <a:solidFill>
                <a:schemeClr val="tx1"/>
              </a:solidFill>
              <a:effectLst/>
              <a:latin typeface="+mn-lt"/>
              <a:ea typeface="+mn-ea"/>
              <a:cs typeface="+mn-cs"/>
            </a:endParaRPr>
          </a:p>
          <a:p>
            <a:pPr rtl="0" fontAlgn="base"/>
            <a:r>
              <a:rPr lang="da-DK" sz="1000" b="0" i="0" u="none" strike="noStrike" kern="1200">
                <a:solidFill>
                  <a:schemeClr val="tx1"/>
                </a:solidFill>
                <a:effectLst/>
                <a:latin typeface="+mn-lt"/>
                <a:ea typeface="+mn-ea"/>
                <a:cs typeface="+mn-cs"/>
              </a:rPr>
              <a:t>NB. Alle lokalafdelinger kan finde tal for egen kommune, samt baggrundsnotat på Frivilligportalen.</a:t>
            </a:r>
          </a:p>
        </p:txBody>
      </p:sp>
      <p:sp>
        <p:nvSpPr>
          <p:cNvPr id="4" name="Pladsholder til slidenummer 3"/>
          <p:cNvSpPr>
            <a:spLocks noGrp="1"/>
          </p:cNvSpPr>
          <p:nvPr>
            <p:ph type="sldNum" sz="quarter" idx="5"/>
          </p:nvPr>
        </p:nvSpPr>
        <p:spPr/>
        <p:txBody>
          <a:bodyPr/>
          <a:lstStyle/>
          <a:p>
            <a:fld id="{C2C98BBF-BBF0-4DE9-8547-883D9E224976}" type="slidenum">
              <a:rPr lang="da-DK" smtClean="0"/>
              <a:t>4</a:t>
            </a:fld>
            <a:endParaRPr lang="da-DK"/>
          </a:p>
        </p:txBody>
      </p:sp>
    </p:spTree>
    <p:extLst>
      <p:ext uri="{BB962C8B-B14F-4D97-AF65-F5344CB8AC3E}">
        <p14:creationId xmlns:p14="http://schemas.microsoft.com/office/powerpoint/2010/main" val="3712744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base"/>
            <a:r>
              <a:rPr lang="da-DK" sz="1200" b="0" i="0" kern="1200">
                <a:solidFill>
                  <a:schemeClr val="tx1"/>
                </a:solidFill>
                <a:effectLst/>
                <a:latin typeface="+mn-lt"/>
                <a:ea typeface="+mn-ea"/>
                <a:cs typeface="+mn-cs"/>
              </a:rPr>
              <a:t>På baggrund af udviklingen og en samtidig forventning om en kraftig stigning i antallet af mennesker med demenssygdom (fra nuværende 100.000 til 145.000 i 2040), har Ældre Sagen intensiveret sin indsats for flere plejehjemspladser både nationalt og lokalt:</a:t>
            </a:r>
          </a:p>
          <a:p>
            <a:pPr rtl="0" fontAlgn="base"/>
            <a:endParaRPr lang="da-DK" sz="1200" b="0" i="0" kern="1200">
              <a:solidFill>
                <a:schemeClr val="tx1"/>
              </a:solidFill>
              <a:effectLst/>
              <a:latin typeface="+mn-lt"/>
              <a:ea typeface="+mn-ea"/>
              <a:cs typeface="+mn-cs"/>
            </a:endParaRPr>
          </a:p>
          <a:p>
            <a:pPr marL="171450" indent="-171450" rtl="0" fontAlgn="base">
              <a:buFontTx/>
              <a:buChar char="-"/>
            </a:pPr>
            <a:r>
              <a:rPr lang="da-DK" sz="1200" b="0" i="0" kern="1200">
                <a:solidFill>
                  <a:schemeClr val="tx1"/>
                </a:solidFill>
                <a:effectLst/>
                <a:latin typeface="+mn-lt"/>
                <a:ea typeface="+mn-ea"/>
                <a:cs typeface="+mn-cs"/>
              </a:rPr>
              <a:t>Ved årsskiftet sendte vi et bekymringsbrev til Ældreministeren, suppleret med indsamlede historier fra lokalafdelingerne om afslag ved visitation (de såkaldte mørketal).</a:t>
            </a:r>
          </a:p>
          <a:p>
            <a:pPr marL="171450" indent="-171450" rtl="0" fontAlgn="base">
              <a:buFontTx/>
              <a:buChar char="-"/>
            </a:pPr>
            <a:endParaRPr lang="da-DK" sz="1200" b="0" i="0" kern="1200">
              <a:solidFill>
                <a:schemeClr val="tx1"/>
              </a:solidFill>
              <a:effectLst/>
              <a:latin typeface="+mn-lt"/>
              <a:ea typeface="+mn-ea"/>
              <a:cs typeface="+mn-cs"/>
            </a:endParaRPr>
          </a:p>
          <a:p>
            <a:pPr marL="171450" indent="-171450" rtl="0" fontAlgn="base">
              <a:buFontTx/>
              <a:buChar char="-"/>
            </a:pPr>
            <a:r>
              <a:rPr lang="da-DK" sz="1200" b="0" i="0" kern="1200">
                <a:solidFill>
                  <a:schemeClr val="tx1"/>
                </a:solidFill>
                <a:effectLst/>
                <a:latin typeface="+mn-lt"/>
                <a:ea typeface="+mn-ea"/>
                <a:cs typeface="+mn-cs"/>
              </a:rPr>
              <a:t>I April måned kom vi på forsiden af Kristeligt Dagblad med vores bekymring for den faldende kapacitet.</a:t>
            </a:r>
          </a:p>
          <a:p>
            <a:pPr marL="0" indent="0" rtl="0" fontAlgn="base">
              <a:buFontTx/>
              <a:buNone/>
            </a:pPr>
            <a:endParaRPr lang="da-DK" sz="1200" b="0" i="0" kern="120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da-DK" sz="1200" b="0" i="0" kern="1200">
                <a:solidFill>
                  <a:schemeClr val="tx1"/>
                </a:solidFill>
                <a:effectLst/>
                <a:latin typeface="+mn-lt"/>
                <a:ea typeface="+mn-ea"/>
                <a:cs typeface="+mn-cs"/>
              </a:rPr>
              <a:t>- I Juni gik Bjarne Hastrup ud i et samlet opråb med Lars Sandahl fra Dansk Industri, og opfordrede igen til at Regeringen nedsætter et plejehjemspartnerskab </a:t>
            </a:r>
          </a:p>
          <a:p>
            <a:pPr marL="0" indent="0" rtl="0" fontAlgn="base">
              <a:buFontTx/>
              <a:buNone/>
            </a:pPr>
            <a:endParaRPr lang="da-DK" sz="1200" b="0" i="0" kern="1200">
              <a:solidFill>
                <a:schemeClr val="tx1"/>
              </a:solidFill>
              <a:effectLst/>
              <a:latin typeface="+mn-lt"/>
              <a:ea typeface="+mn-ea"/>
              <a:cs typeface="+mn-cs"/>
            </a:endParaRPr>
          </a:p>
          <a:p>
            <a:pPr marL="171450" indent="-171450" rtl="0" fontAlgn="base">
              <a:buFontTx/>
              <a:buChar char="-"/>
            </a:pPr>
            <a:r>
              <a:rPr lang="da-DK" sz="1200" b="0" i="0" kern="1200">
                <a:solidFill>
                  <a:schemeClr val="tx1"/>
                </a:solidFill>
                <a:effectLst/>
                <a:latin typeface="+mn-lt"/>
                <a:ea typeface="+mn-ea"/>
                <a:cs typeface="+mn-cs"/>
              </a:rPr>
              <a:t>Parallelt med sekretariatets indsats har flere lokalafdelinger været gode til at løfte dagsordenen lokalt; som fx Vagn Meck fra Haderslev, i samarbejde med andre lokalafdelinger.</a:t>
            </a:r>
          </a:p>
          <a:p>
            <a:pPr marL="171450" indent="-171450" rtl="0" fontAlgn="base">
              <a:buFontTx/>
              <a:buChar char="-"/>
            </a:pPr>
            <a:endParaRPr lang="da-DK" sz="1200" b="0" i="0" kern="1200">
              <a:solidFill>
                <a:schemeClr val="tx1"/>
              </a:solidFill>
              <a:effectLst/>
              <a:latin typeface="+mn-lt"/>
              <a:ea typeface="+mn-ea"/>
              <a:cs typeface="+mn-cs"/>
            </a:endParaRPr>
          </a:p>
          <a:p>
            <a:pPr marL="171450" indent="-171450" rtl="0" fontAlgn="base">
              <a:buFontTx/>
              <a:buChar char="-"/>
            </a:pPr>
            <a:r>
              <a:rPr lang="da-DK" sz="1200" b="0" i="0" kern="1200">
                <a:solidFill>
                  <a:schemeClr val="tx1"/>
                </a:solidFill>
                <a:effectLst/>
                <a:latin typeface="+mn-lt"/>
                <a:ea typeface="+mn-ea"/>
                <a:cs typeface="+mn-cs"/>
              </a:rPr>
              <a:t>På baggrund af diverse opråb, valgte ældreordfører </a:t>
            </a:r>
          </a:p>
        </p:txBody>
      </p:sp>
      <p:sp>
        <p:nvSpPr>
          <p:cNvPr id="4" name="Pladsholder til slidenummer 3"/>
          <p:cNvSpPr>
            <a:spLocks noGrp="1"/>
          </p:cNvSpPr>
          <p:nvPr>
            <p:ph type="sldNum" sz="quarter" idx="5"/>
          </p:nvPr>
        </p:nvSpPr>
        <p:spPr/>
        <p:txBody>
          <a:bodyPr/>
          <a:lstStyle/>
          <a:p>
            <a:fld id="{C2C98BBF-BBF0-4DE9-8547-883D9E224976}" type="slidenum">
              <a:rPr lang="da-DK" smtClean="0"/>
              <a:t>5</a:t>
            </a:fld>
            <a:endParaRPr lang="da-DK"/>
          </a:p>
        </p:txBody>
      </p:sp>
    </p:spTree>
    <p:extLst>
      <p:ext uri="{BB962C8B-B14F-4D97-AF65-F5344CB8AC3E}">
        <p14:creationId xmlns:p14="http://schemas.microsoft.com/office/powerpoint/2010/main" val="948087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6</a:t>
            </a:fld>
            <a:endParaRPr lang="da-DK"/>
          </a:p>
        </p:txBody>
      </p:sp>
    </p:spTree>
    <p:extLst>
      <p:ext uri="{BB962C8B-B14F-4D97-AF65-F5344CB8AC3E}">
        <p14:creationId xmlns:p14="http://schemas.microsoft.com/office/powerpoint/2010/main" val="2172540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0DA5E-709E-CB18-A83D-250034A0051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16B9CD0-95CE-65EF-917A-992379AF4A4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228BDD6-A2EC-01D7-5C04-BA9FAE946F5B}"/>
              </a:ext>
            </a:extLst>
          </p:cNvPr>
          <p:cNvSpPr>
            <a:spLocks noGrp="1"/>
          </p:cNvSpPr>
          <p:nvPr>
            <p:ph type="body" idx="1"/>
          </p:nvPr>
        </p:nvSpPr>
        <p:spPr/>
        <p:txBody>
          <a:bodyPr/>
          <a:lstStyle/>
          <a:p>
            <a:pPr rtl="0" fontAlgn="base"/>
            <a:r>
              <a:rPr lang="da-DK" sz="1200" b="0" i="0" u="none" strike="noStrike" kern="1200">
                <a:solidFill>
                  <a:schemeClr val="tx1"/>
                </a:solidFill>
                <a:effectLst/>
                <a:latin typeface="+mn-lt"/>
                <a:ea typeface="+mn-ea"/>
                <a:cs typeface="+mn-cs"/>
              </a:rPr>
              <a:t>Når vi taler om flere plejehjemspladser, er det naturlige næste spørgsmål ofte: men hvem skal arbejde der/hvem skal passe og pleje de ældre?</a:t>
            </a:r>
          </a:p>
          <a:p>
            <a:pPr rtl="0" fontAlgn="base"/>
            <a:endParaRPr lang="da-DK" sz="1200" b="0" i="0" u="none" strike="noStrike" kern="1200">
              <a:solidFill>
                <a:schemeClr val="tx1"/>
              </a:solidFill>
              <a:effectLst/>
              <a:latin typeface="+mn-lt"/>
              <a:ea typeface="+mn-ea"/>
              <a:cs typeface="+mn-cs"/>
            </a:endParaRPr>
          </a:p>
          <a:p>
            <a:pPr marL="171450" indent="-171450" rtl="0" fontAlgn="base">
              <a:buFontTx/>
              <a:buChar char="-"/>
            </a:pPr>
            <a:r>
              <a:rPr lang="da-DK" sz="1200" b="0" i="0" u="none" strike="noStrike" kern="1200">
                <a:solidFill>
                  <a:schemeClr val="tx1"/>
                </a:solidFill>
                <a:effectLst/>
                <a:latin typeface="+mn-lt"/>
                <a:ea typeface="+mn-ea"/>
                <a:cs typeface="+mn-cs"/>
              </a:rPr>
              <a:t>Det er ingen hemmelighed, at der aktuelt er store rekrutteringsudfordringer i ældreplejen, og nogen vil måske spørge om man så kan arbejde for bedre normeringer? Men det er vi nødt til. Det viser VIVE´s nyeste normeringsundersøgelse med al tydelighed: </a:t>
            </a:r>
          </a:p>
          <a:p>
            <a:pPr marL="171450" indent="-171450" rtl="0" fontAlgn="base">
              <a:buFontTx/>
              <a:buChar char="-"/>
            </a:pPr>
            <a:endParaRPr lang="da-DK" sz="1200" b="0" i="0" u="none" strike="noStrike" kern="1200">
              <a:solidFill>
                <a:schemeClr val="tx1"/>
              </a:solidFill>
              <a:effectLst/>
              <a:latin typeface="+mn-lt"/>
              <a:ea typeface="+mn-ea"/>
              <a:cs typeface="+mn-cs"/>
            </a:endParaRPr>
          </a:p>
          <a:p>
            <a:pPr marL="171450" indent="-171450" rtl="0" fontAlgn="base">
              <a:buFontTx/>
              <a:buChar char="-"/>
            </a:pPr>
            <a:r>
              <a:rPr lang="da-DK" sz="1200" b="0" i="0" u="none" strike="noStrike" kern="1200">
                <a:solidFill>
                  <a:schemeClr val="tx1"/>
                </a:solidFill>
                <a:effectLst/>
                <a:latin typeface="+mn-lt"/>
                <a:ea typeface="+mn-ea"/>
                <a:cs typeface="+mn-cs"/>
              </a:rPr>
              <a:t>Normeringen er uændret, men borgerne er blevet mere plejekrævende (måske pga. den sene visitation til plejehjem) og derfor er plejehjemmene under stort pres. Plejehjemslederne beskriver det som at ”normeringen er blevet udhulet over tid”.</a:t>
            </a:r>
          </a:p>
          <a:p>
            <a:pPr marL="171450" indent="-171450" rtl="0" fontAlgn="base">
              <a:buFontTx/>
              <a:buChar char="-"/>
            </a:pPr>
            <a:endParaRPr lang="da-DK" sz="1200" b="0" i="0" u="none" strike="noStrike" kern="1200">
              <a:solidFill>
                <a:schemeClr val="tx1"/>
              </a:solidFill>
              <a:effectLst/>
              <a:latin typeface="+mn-lt"/>
              <a:ea typeface="+mn-ea"/>
              <a:cs typeface="+mn-cs"/>
            </a:endParaRPr>
          </a:p>
          <a:p>
            <a:pPr marL="171450" indent="-171450" rtl="0" fontAlgn="base">
              <a:buFontTx/>
              <a:buChar char="-"/>
            </a:pPr>
            <a:r>
              <a:rPr lang="da-DK" sz="1200" b="0" i="0" u="none" strike="noStrike" kern="1200">
                <a:solidFill>
                  <a:schemeClr val="tx1"/>
                </a:solidFill>
                <a:effectLst/>
                <a:latin typeface="+mn-lt"/>
                <a:ea typeface="+mn-ea"/>
                <a:cs typeface="+mn-cs"/>
              </a:rPr>
              <a:t>Og hvis det ikke skulle være bekymrende i sig selv, så viser undersøgelsen som de forgangne år, store kommunale forskelle i normeringerne:</a:t>
            </a:r>
          </a:p>
          <a:p>
            <a:pPr marL="171450" marR="0" lvl="0" indent="-171450" algn="l" defTabSz="914400" rtl="0" eaLnBrk="1" fontAlgn="base" latinLnBrk="0" hangingPunct="1">
              <a:lnSpc>
                <a:spcPct val="100000"/>
              </a:lnSpc>
              <a:spcBef>
                <a:spcPts val="0"/>
              </a:spcBef>
              <a:spcAft>
                <a:spcPts val="0"/>
              </a:spcAft>
              <a:buClrTx/>
              <a:buSzTx/>
              <a:buFontTx/>
              <a:buChar char="-"/>
              <a:tabLst/>
              <a:defRPr/>
            </a:pPr>
            <a:endParaRPr lang="da-DK" sz="1200" b="0" i="0" u="none" strike="noStrike" kern="120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da-DK" sz="1200" b="0" i="0" u="none" strike="noStrike" kern="1200">
                <a:solidFill>
                  <a:schemeClr val="tx1"/>
                </a:solidFill>
                <a:effectLst/>
                <a:latin typeface="+mn-lt"/>
                <a:ea typeface="+mn-ea"/>
                <a:cs typeface="+mn-cs"/>
              </a:rPr>
              <a:t>Der er en tendens til, at der er omtrent halvt så mange beboere per medarbejder i den kommune, der har de bedste normeringer, sammenlignet med den kommune, der har de dårligste normeringer. </a:t>
            </a:r>
            <a:r>
              <a:rPr lang="da-DK" sz="1200" b="0" i="0" kern="1200">
                <a:solidFill>
                  <a:schemeClr val="tx1"/>
                </a:solidFill>
                <a:effectLst/>
                <a:latin typeface="+mn-lt"/>
                <a:ea typeface="+mn-ea"/>
                <a:cs typeface="+mn-cs"/>
              </a:rPr>
              <a:t>​</a:t>
            </a:r>
          </a:p>
          <a:p>
            <a:pPr rtl="0" fontAlgn="base"/>
            <a:endParaRPr lang="da-DK" sz="1200" b="0" i="0" u="none" strike="noStrike" kern="1200">
              <a:solidFill>
                <a:schemeClr val="tx1"/>
              </a:solidFill>
              <a:effectLst/>
              <a:latin typeface="+mn-lt"/>
              <a:ea typeface="+mn-ea"/>
              <a:cs typeface="+mn-cs"/>
            </a:endParaRPr>
          </a:p>
          <a:p>
            <a:pPr rtl="0" fontAlgn="base"/>
            <a:r>
              <a:rPr lang="da-DK" sz="1200" b="0" i="0" u="none" strike="noStrike" kern="1200">
                <a:solidFill>
                  <a:schemeClr val="tx1"/>
                </a:solidFill>
                <a:effectLst/>
                <a:latin typeface="+mn-lt"/>
                <a:ea typeface="+mn-ea"/>
                <a:cs typeface="+mn-cs"/>
              </a:rPr>
              <a:t>- Det største spænd ses på nattevagter i weekenden, hvor der på enkelte plejehjem er 7 beboere per medarbejder om natten, mens der på andre plejehjem er 40 beboere per medarbejder.</a:t>
            </a:r>
            <a:r>
              <a:rPr lang="da-DK" sz="1200" b="0" i="0" kern="1200">
                <a:solidFill>
                  <a:schemeClr val="tx1"/>
                </a:solidFill>
                <a:effectLst/>
                <a:latin typeface="+mn-lt"/>
                <a:ea typeface="+mn-ea"/>
                <a:cs typeface="+mn-cs"/>
              </a:rPr>
              <a:t>​</a:t>
            </a:r>
          </a:p>
          <a:p>
            <a:pPr rtl="0" fontAlgn="base"/>
            <a:endParaRPr lang="da-DK" sz="1200" b="0" i="0" kern="120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da-DK" sz="1200" b="0" i="0" kern="1200">
                <a:solidFill>
                  <a:schemeClr val="tx1"/>
                </a:solidFill>
                <a:effectLst/>
                <a:latin typeface="+mn-lt"/>
                <a:ea typeface="+mn-ea"/>
                <a:cs typeface="+mn-cs"/>
              </a:rPr>
              <a:t>Det er jo i sig selv en hel dagsorden at tale om ”postnummerbingo”, da vi ikke mener det er rimeligt at postnummeret afgør adgangen til noget så grundlæggende som pleje og omsorg, den dag vi ikke længere kan klare os selv.  </a:t>
            </a:r>
          </a:p>
          <a:p>
            <a:pPr marL="0" marR="0" lvl="0" indent="0" algn="l" defTabSz="914400" rtl="0" eaLnBrk="1" fontAlgn="base" latinLnBrk="0" hangingPunct="1">
              <a:lnSpc>
                <a:spcPct val="100000"/>
              </a:lnSpc>
              <a:spcBef>
                <a:spcPts val="0"/>
              </a:spcBef>
              <a:spcAft>
                <a:spcPts val="0"/>
              </a:spcAft>
              <a:buClrTx/>
              <a:buSzTx/>
              <a:buFontTx/>
              <a:buNone/>
              <a:tabLst/>
              <a:defRPr/>
            </a:pPr>
            <a:endParaRPr lang="da-DK" sz="1200" b="0" i="0" kern="120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da-DK" sz="1200" b="0" i="0" kern="1200">
                <a:solidFill>
                  <a:schemeClr val="tx1"/>
                </a:solidFill>
                <a:effectLst/>
                <a:latin typeface="+mn-lt"/>
                <a:ea typeface="+mn-ea"/>
                <a:cs typeface="+mn-cs"/>
              </a:rPr>
              <a:t>Undersøgelsen har fået stort politisk bevågenhed både nationalt og lokalt – og igen kan vi henvise til, at der er tal på kommuneniveau via Frivilligportalen.</a:t>
            </a:r>
          </a:p>
          <a:p>
            <a:pPr marL="0" marR="0" lvl="0" indent="0" algn="l" defTabSz="914400" rtl="0" eaLnBrk="1" fontAlgn="base" latinLnBrk="0" hangingPunct="1">
              <a:lnSpc>
                <a:spcPct val="100000"/>
              </a:lnSpc>
              <a:spcBef>
                <a:spcPts val="0"/>
              </a:spcBef>
              <a:spcAft>
                <a:spcPts val="0"/>
              </a:spcAft>
              <a:buClrTx/>
              <a:buSzTx/>
              <a:buFontTx/>
              <a:buNone/>
              <a:tabLst/>
              <a:defRPr/>
            </a:pPr>
            <a:endParaRPr lang="da-DK" sz="1200" b="0" i="0" kern="1200">
              <a:solidFill>
                <a:schemeClr val="tx1"/>
              </a:solidFill>
              <a:effectLst/>
              <a:latin typeface="+mn-lt"/>
              <a:ea typeface="+mn-ea"/>
              <a:cs typeface="+mn-cs"/>
            </a:endParaRPr>
          </a:p>
        </p:txBody>
      </p:sp>
      <p:sp>
        <p:nvSpPr>
          <p:cNvPr id="4" name="Pladsholder til slidenummer 3">
            <a:extLst>
              <a:ext uri="{FF2B5EF4-FFF2-40B4-BE49-F238E27FC236}">
                <a16:creationId xmlns:a16="http://schemas.microsoft.com/office/drawing/2014/main" id="{E60FCDAA-FD60-8CF2-D196-9F6A5C19EE8D}"/>
              </a:ext>
            </a:extLst>
          </p:cNvPr>
          <p:cNvSpPr>
            <a:spLocks noGrp="1"/>
          </p:cNvSpPr>
          <p:nvPr>
            <p:ph type="sldNum" sz="quarter" idx="5"/>
          </p:nvPr>
        </p:nvSpPr>
        <p:spPr/>
        <p:txBody>
          <a:bodyPr/>
          <a:lstStyle/>
          <a:p>
            <a:fld id="{C2C98BBF-BBF0-4DE9-8547-883D9E224976}" type="slidenum">
              <a:rPr lang="da-DK" smtClean="0"/>
              <a:t>7</a:t>
            </a:fld>
            <a:endParaRPr lang="da-DK"/>
          </a:p>
        </p:txBody>
      </p:sp>
    </p:spTree>
    <p:extLst>
      <p:ext uri="{BB962C8B-B14F-4D97-AF65-F5344CB8AC3E}">
        <p14:creationId xmlns:p14="http://schemas.microsoft.com/office/powerpoint/2010/main" val="439210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309AC-68EB-EA98-5DEC-FC61ADFEF82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C55466D-38BF-C83C-42B4-3C220053F54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DAC3F9E-B920-D2E6-4F61-8D38A0D10FB7}"/>
              </a:ext>
            </a:extLst>
          </p:cNvPr>
          <p:cNvSpPr>
            <a:spLocks noGrp="1"/>
          </p:cNvSpPr>
          <p:nvPr>
            <p:ph type="body" idx="1"/>
          </p:nvPr>
        </p:nvSpPr>
        <p:spPr/>
        <p:txBody>
          <a:bodyPr/>
          <a:lstStyle/>
          <a:p>
            <a:pPr rtl="0" fontAlgn="base"/>
            <a:r>
              <a:rPr lang="da-DK" sz="1000" b="0" i="0" u="none" strike="noStrike" kern="1200">
                <a:solidFill>
                  <a:schemeClr val="tx1"/>
                </a:solidFill>
                <a:effectLst/>
                <a:latin typeface="+mn-lt"/>
                <a:ea typeface="+mn-ea"/>
                <a:cs typeface="+mn-cs"/>
              </a:rPr>
              <a:t>Med henvisning til artiklen i Kristeligt Dagblad og Ældre Sagens tal, valgte Folketingets Ældreudvalg i juni at stille spørgsmål til ældreministeren om den faldende dækningsgrad.</a:t>
            </a:r>
          </a:p>
          <a:p>
            <a:pPr rtl="0" fontAlgn="base"/>
            <a:endParaRPr lang="da-DK" sz="1000" b="0" i="0" u="none" strike="noStrike" kern="1200">
              <a:solidFill>
                <a:schemeClr val="tx1"/>
              </a:solidFill>
              <a:effectLst/>
              <a:latin typeface="+mn-lt"/>
              <a:ea typeface="+mn-ea"/>
              <a:cs typeface="+mn-cs"/>
            </a:endParaRPr>
          </a:p>
          <a:p>
            <a:pPr rtl="0" fontAlgn="base"/>
            <a:r>
              <a:rPr lang="da-DK" sz="1000" b="0" i="0" u="none" strike="noStrike" kern="1200">
                <a:solidFill>
                  <a:schemeClr val="tx1"/>
                </a:solidFill>
                <a:effectLst/>
                <a:latin typeface="+mn-lt"/>
                <a:ea typeface="+mn-ea"/>
                <a:cs typeface="+mn-cs"/>
              </a:rPr>
              <a:t>Ældreministeren erkender at den faldende dækningsgrad ikke skal negligeres, men henviser bl.a. til de 3000 ekstra ikke-kommunale plejehjemspladser som er Ældrereformens ambition.</a:t>
            </a:r>
          </a:p>
          <a:p>
            <a:pPr rtl="0" fontAlgn="base"/>
            <a:br>
              <a:rPr lang="da-DK" sz="1000" b="0" i="0" u="none" strike="noStrike" kern="1200">
                <a:solidFill>
                  <a:schemeClr val="tx1"/>
                </a:solidFill>
                <a:effectLst/>
                <a:latin typeface="+mn-lt"/>
                <a:ea typeface="+mn-ea"/>
                <a:cs typeface="+mn-cs"/>
              </a:rPr>
            </a:br>
            <a:r>
              <a:rPr lang="da-DK" sz="1000" b="0" i="0" u="none" strike="noStrike" kern="1200">
                <a:solidFill>
                  <a:schemeClr val="tx1"/>
                </a:solidFill>
                <a:effectLst/>
                <a:latin typeface="+mn-lt"/>
                <a:ea typeface="+mn-ea"/>
                <a:cs typeface="+mn-cs"/>
              </a:rPr>
              <a:t>Det er her vigtigt at bemærke, at hun lige skal gange det tal med 5 og sikre at der totalt etableres 15.000 ekstra plejehjemspladser inden 2030. Ellers vil dækningsgraden falde yderligere.</a:t>
            </a:r>
          </a:p>
          <a:p>
            <a:pPr rtl="0" fontAlgn="base"/>
            <a:endParaRPr lang="da-DK" sz="1000" b="0" i="0" u="none" strike="noStrike" kern="1200">
              <a:solidFill>
                <a:schemeClr val="tx1"/>
              </a:solidFill>
              <a:effectLst/>
              <a:latin typeface="+mn-lt"/>
              <a:ea typeface="+mn-ea"/>
              <a:cs typeface="+mn-cs"/>
            </a:endParaRPr>
          </a:p>
          <a:p>
            <a:pPr rtl="0" fontAlgn="base"/>
            <a:r>
              <a:rPr lang="da-DK" sz="1000" b="0" i="0" u="none" strike="noStrike" kern="1200">
                <a:solidFill>
                  <a:schemeClr val="tx1"/>
                </a:solidFill>
                <a:effectLst/>
                <a:latin typeface="+mn-lt"/>
                <a:ea typeface="+mn-ea"/>
                <a:cs typeface="+mn-cs"/>
              </a:rPr>
              <a:t>Fra Ældre Sagens side kæmper vi videre for den vigtige dagsorden og bl.a. derfor er temaet om flere plejehjemspladser også udvalgt som et af Ældre Sagens tre valgtemaer, i forbindelse med Kommunalvalg 2025.</a:t>
            </a:r>
          </a:p>
        </p:txBody>
      </p:sp>
      <p:sp>
        <p:nvSpPr>
          <p:cNvPr id="4" name="Pladsholder til slidenummer 3">
            <a:extLst>
              <a:ext uri="{FF2B5EF4-FFF2-40B4-BE49-F238E27FC236}">
                <a16:creationId xmlns:a16="http://schemas.microsoft.com/office/drawing/2014/main" id="{E52CB012-3595-444C-E259-5A93E6D8A512}"/>
              </a:ext>
            </a:extLst>
          </p:cNvPr>
          <p:cNvSpPr>
            <a:spLocks noGrp="1"/>
          </p:cNvSpPr>
          <p:nvPr>
            <p:ph type="sldNum" sz="quarter" idx="5"/>
          </p:nvPr>
        </p:nvSpPr>
        <p:spPr/>
        <p:txBody>
          <a:bodyPr/>
          <a:lstStyle/>
          <a:p>
            <a:fld id="{C2C98BBF-BBF0-4DE9-8547-883D9E224976}" type="slidenum">
              <a:rPr lang="da-DK" smtClean="0"/>
              <a:t>8</a:t>
            </a:fld>
            <a:endParaRPr lang="da-DK"/>
          </a:p>
        </p:txBody>
      </p:sp>
    </p:spTree>
    <p:extLst>
      <p:ext uri="{BB962C8B-B14F-4D97-AF65-F5344CB8AC3E}">
        <p14:creationId xmlns:p14="http://schemas.microsoft.com/office/powerpoint/2010/main" val="1060484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2C98BBF-BBF0-4DE9-8547-883D9E224976}" type="slidenum">
              <a:rPr lang="da-DK" smtClean="0"/>
              <a:t>9</a:t>
            </a:fld>
            <a:endParaRPr lang="da-DK"/>
          </a:p>
        </p:txBody>
      </p:sp>
    </p:spTree>
    <p:extLst>
      <p:ext uri="{BB962C8B-B14F-4D97-AF65-F5344CB8AC3E}">
        <p14:creationId xmlns:p14="http://schemas.microsoft.com/office/powerpoint/2010/main" val="35059119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0945"/>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4" y="2396853"/>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val="0"/>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0"/>
            <a:ext cx="12192000" cy="2442572"/>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
        <p:nvSpPr>
          <p:cNvPr id="10" name="Rektangel 9"/>
          <p:cNvSpPr/>
          <p:nvPr userDrawn="1"/>
        </p:nvSpPr>
        <p:spPr>
          <a:xfrm>
            <a:off x="0" y="4410945"/>
            <a:ext cx="12192000" cy="2442572"/>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Tree>
    <p:extLst>
      <p:ext uri="{BB962C8B-B14F-4D97-AF65-F5344CB8AC3E}">
        <p14:creationId xmlns:p14="http://schemas.microsoft.com/office/powerpoint/2010/main" val="780630406"/>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a:t>Klik for at tilføje tekst</a:t>
            </a:r>
          </a:p>
        </p:txBody>
      </p:sp>
      <p:sp>
        <p:nvSpPr>
          <p:cNvPr id="7" name="Pladsholder til indhold 6"/>
          <p:cNvSpPr>
            <a:spLocks noGrp="1"/>
          </p:cNvSpPr>
          <p:nvPr>
            <p:ph sz="quarter" idx="15" hasCustomPrompt="1"/>
          </p:nvPr>
        </p:nvSpPr>
        <p:spPr>
          <a:xfrm>
            <a:off x="6040968" y="327026"/>
            <a:ext cx="5719233" cy="5910263"/>
          </a:xfrm>
        </p:spPr>
        <p:txBody>
          <a:bodyPr anchor="t"/>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a:t>Klik for at tilføje tekst</a:t>
            </a:r>
          </a:p>
        </p:txBody>
      </p:sp>
      <p:pic>
        <p:nvPicPr>
          <p:cNvPr id="8"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3" name="Pladsholder til diasnummer 2"/>
          <p:cNvSpPr>
            <a:spLocks noGrp="1"/>
          </p:cNvSpPr>
          <p:nvPr>
            <p:ph type="sldNum" sz="quarter" idx="16"/>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99890335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Klik for at tilføje tekst</a:t>
            </a:r>
          </a:p>
        </p:txBody>
      </p:sp>
      <p:sp>
        <p:nvSpPr>
          <p:cNvPr id="3" name="Pladsholder til billede 2"/>
          <p:cNvSpPr>
            <a:spLocks noGrp="1"/>
          </p:cNvSpPr>
          <p:nvPr>
            <p:ph type="pic" sz="quarter" idx="11"/>
          </p:nvPr>
        </p:nvSpPr>
        <p:spPr>
          <a:xfrm>
            <a:off x="503767" y="349251"/>
            <a:ext cx="11228917" cy="4211205"/>
          </a:xfrm>
        </p:spPr>
        <p:txBody>
          <a:bodyPr/>
          <a:lstStyle/>
          <a:p>
            <a:r>
              <a:rPr lang="da-DK"/>
              <a:t>Klik på ikonet for at tilføje et billede</a:t>
            </a:r>
          </a:p>
        </p:txBody>
      </p:sp>
      <p:sp>
        <p:nvSpPr>
          <p:cNvPr id="2" name="Titel 1"/>
          <p:cNvSpPr>
            <a:spLocks noGrp="1"/>
          </p:cNvSpPr>
          <p:nvPr>
            <p:ph type="title" hasCustomPrompt="1"/>
          </p:nvPr>
        </p:nvSpPr>
        <p:spPr>
          <a:xfrm>
            <a:off x="508001" y="4647515"/>
            <a:ext cx="11215711" cy="972000"/>
          </a:xfrm>
        </p:spPr>
        <p:txBody>
          <a:bodyPr>
            <a:normAutofit/>
          </a:bodyPr>
          <a:lstStyle>
            <a:lvl1pPr>
              <a:defRPr sz="4900"/>
            </a:lvl1pPr>
          </a:lstStyle>
          <a:p>
            <a:pPr lvl="0"/>
            <a:r>
              <a:rPr lang="da-DK"/>
              <a:t>Klik for at tilføje tekst</a:t>
            </a:r>
          </a:p>
        </p:txBody>
      </p:sp>
      <p:sp>
        <p:nvSpPr>
          <p:cNvPr id="6" name="Shape 2"/>
          <p:cNvSpPr/>
          <p:nvPr userDrawn="1"/>
        </p:nvSpPr>
        <p:spPr>
          <a:xfrm>
            <a:off x="476250"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8" name="Shape 3"/>
          <p:cNvSpPr/>
          <p:nvPr userDrawn="1"/>
        </p:nvSpPr>
        <p:spPr>
          <a:xfrm>
            <a:off x="476250"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9"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4" name="Pladsholder til diasnummer 3"/>
          <p:cNvSpPr>
            <a:spLocks noGrp="1"/>
          </p:cNvSpPr>
          <p:nvPr>
            <p:ph type="sldNum" sz="quarter" idx="12"/>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70263097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19070"/>
            <a:ext cx="11229673" cy="972000"/>
          </a:xfrm>
        </p:spPr>
        <p:txBody>
          <a:bodyPr>
            <a:normAutofit/>
          </a:bodyPr>
          <a:lstStyle>
            <a:lvl1pPr>
              <a:spcBef>
                <a:spcPts val="0"/>
              </a:spcBef>
              <a:defRPr sz="4900"/>
            </a:lvl1pPr>
          </a:lstStyle>
          <a:p>
            <a:pPr lvl="0"/>
            <a:r>
              <a:rPr lang="da-DK"/>
              <a:t>Klik for at tilføje tekst</a:t>
            </a:r>
          </a:p>
        </p:txBody>
      </p:sp>
      <p:sp>
        <p:nvSpPr>
          <p:cNvPr id="3" name="Pladsholder til diasnummer 2"/>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98151281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5371683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10514921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347E12-2986-3E2C-CB0C-B7F165669F03}"/>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endParaRPr lang="en-GB"/>
          </a:p>
        </p:txBody>
      </p:sp>
      <p:sp>
        <p:nvSpPr>
          <p:cNvPr id="3" name="Undertitel 2">
            <a:extLst>
              <a:ext uri="{FF2B5EF4-FFF2-40B4-BE49-F238E27FC236}">
                <a16:creationId xmlns:a16="http://schemas.microsoft.com/office/drawing/2014/main" id="{AD42EE0B-C894-2B6C-0798-E1BD66F8BA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a:p>
        </p:txBody>
      </p:sp>
      <p:sp>
        <p:nvSpPr>
          <p:cNvPr id="4" name="Pladsholder til dato 3">
            <a:extLst>
              <a:ext uri="{FF2B5EF4-FFF2-40B4-BE49-F238E27FC236}">
                <a16:creationId xmlns:a16="http://schemas.microsoft.com/office/drawing/2014/main" id="{369959DF-C979-741D-E257-3DAC81EF621C}"/>
              </a:ext>
            </a:extLst>
          </p:cNvPr>
          <p:cNvSpPr>
            <a:spLocks noGrp="1"/>
          </p:cNvSpPr>
          <p:nvPr>
            <p:ph type="dt" sz="half" idx="10"/>
          </p:nvPr>
        </p:nvSpPr>
        <p:spPr/>
        <p:txBody>
          <a:bodyPr/>
          <a:lstStyle/>
          <a:p>
            <a:fld id="{E5D8CF6A-C731-754C-B22C-BE114DFB1AA5}" type="datetimeFigureOut">
              <a:rPr lang="en-GB" smtClean="0"/>
              <a:t>16/09/2025</a:t>
            </a:fld>
            <a:endParaRPr lang="en-GB"/>
          </a:p>
        </p:txBody>
      </p:sp>
      <p:sp>
        <p:nvSpPr>
          <p:cNvPr id="5" name="Pladsholder til sidefod 4">
            <a:extLst>
              <a:ext uri="{FF2B5EF4-FFF2-40B4-BE49-F238E27FC236}">
                <a16:creationId xmlns:a16="http://schemas.microsoft.com/office/drawing/2014/main" id="{B46817E6-CE04-AD44-CE06-533EA5F294FF}"/>
              </a:ext>
            </a:extLst>
          </p:cNvPr>
          <p:cNvSpPr>
            <a:spLocks noGrp="1"/>
          </p:cNvSpPr>
          <p:nvPr>
            <p:ph type="ftr" sz="quarter" idx="11"/>
          </p:nvPr>
        </p:nvSpPr>
        <p:spPr/>
        <p:txBody>
          <a:bodyPr/>
          <a:lstStyle/>
          <a:p>
            <a:endParaRPr lang="en-GB"/>
          </a:p>
        </p:txBody>
      </p:sp>
      <p:sp>
        <p:nvSpPr>
          <p:cNvPr id="6" name="Pladsholder til slidenummer 5">
            <a:extLst>
              <a:ext uri="{FF2B5EF4-FFF2-40B4-BE49-F238E27FC236}">
                <a16:creationId xmlns:a16="http://schemas.microsoft.com/office/drawing/2014/main" id="{3794FFAC-70E5-7193-B7B4-A0DE220A9765}"/>
              </a:ext>
            </a:extLst>
          </p:cNvPr>
          <p:cNvSpPr>
            <a:spLocks noGrp="1"/>
          </p:cNvSpPr>
          <p:nvPr>
            <p:ph type="sldNum" sz="quarter" idx="12"/>
          </p:nvPr>
        </p:nvSpPr>
        <p:spPr/>
        <p:txBody>
          <a:bodyPr/>
          <a:lstStyle/>
          <a:p>
            <a:fld id="{10C5156E-9795-5D40-9B45-A81405F59A51}" type="slidenum">
              <a:rPr lang="en-GB" smtClean="0"/>
              <a:t>‹nr.›</a:t>
            </a:fld>
            <a:endParaRPr lang="en-GB"/>
          </a:p>
        </p:txBody>
      </p:sp>
    </p:spTree>
    <p:extLst>
      <p:ext uri="{BB962C8B-B14F-4D97-AF65-F5344CB8AC3E}">
        <p14:creationId xmlns:p14="http://schemas.microsoft.com/office/powerpoint/2010/main" val="3630315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slide">
    <p:bg>
      <p:bgPr>
        <a:solidFill>
          <a:srgbClr val="DEE2E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2C6E8-63BD-9AF0-C249-1557AAB880AF}"/>
              </a:ext>
            </a:extLst>
          </p:cNvPr>
          <p:cNvSpPr>
            <a:spLocks noGrp="1"/>
          </p:cNvSpPr>
          <p:nvPr>
            <p:ph type="ctrTitle" hasCustomPrompt="1"/>
          </p:nvPr>
        </p:nvSpPr>
        <p:spPr>
          <a:xfrm>
            <a:off x="830263" y="2091640"/>
            <a:ext cx="4433887" cy="2519363"/>
          </a:xfrm>
        </p:spPr>
        <p:txBody>
          <a:bodyPr anchor="b"/>
          <a:lstStyle>
            <a:lvl1pPr algn="l">
              <a:defRPr sz="4200"/>
            </a:lvl1pPr>
          </a:lstStyle>
          <a:p>
            <a:r>
              <a:rPr lang="da-DK"/>
              <a:t>Klik for at redigere titeltypografien i masteren</a:t>
            </a:r>
          </a:p>
        </p:txBody>
      </p:sp>
      <p:sp>
        <p:nvSpPr>
          <p:cNvPr id="3" name="Subtitle 2">
            <a:extLst>
              <a:ext uri="{FF2B5EF4-FFF2-40B4-BE49-F238E27FC236}">
                <a16:creationId xmlns:a16="http://schemas.microsoft.com/office/drawing/2014/main" id="{07105BED-AEC6-7489-627D-C4BD36A60476}"/>
              </a:ext>
            </a:extLst>
          </p:cNvPr>
          <p:cNvSpPr>
            <a:spLocks noGrp="1"/>
          </p:cNvSpPr>
          <p:nvPr>
            <p:ph type="subTitle" idx="1" hasCustomPrompt="1"/>
          </p:nvPr>
        </p:nvSpPr>
        <p:spPr>
          <a:xfrm>
            <a:off x="830263" y="4891991"/>
            <a:ext cx="4433887" cy="558799"/>
          </a:xfrm>
          <a:prstGeom prst="rect">
            <a:avLst/>
          </a:prstGeom>
        </p:spPr>
        <p:txBody>
          <a:bodyPr/>
          <a:lstStyle>
            <a:lvl1pPr marL="0" indent="0" algn="l">
              <a:buNone/>
              <a:defRPr sz="2200">
                <a:latin typeface="IBM Plex Sans Medium" panose="020B06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pic>
        <p:nvPicPr>
          <p:cNvPr id="41" name="ÆS_logo_POS_CMYK.pdf">
            <a:extLst>
              <a:ext uri="{FF2B5EF4-FFF2-40B4-BE49-F238E27FC236}">
                <a16:creationId xmlns:a16="http://schemas.microsoft.com/office/drawing/2014/main" id="{A5CC1B76-24ED-ABAE-B38B-EF2B5A0F5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830564" y="778110"/>
            <a:ext cx="1663699" cy="286017"/>
          </a:xfrm>
          <a:prstGeom prst="rect">
            <a:avLst/>
          </a:prstGeom>
          <a:ln w="12700">
            <a:miter lim="400000"/>
          </a:ln>
        </p:spPr>
      </p:pic>
      <p:pic>
        <p:nvPicPr>
          <p:cNvPr id="4" name="ÆS_logo_POS_CMYK.pdf">
            <a:extLst>
              <a:ext uri="{FF2B5EF4-FFF2-40B4-BE49-F238E27FC236}">
                <a16:creationId xmlns:a16="http://schemas.microsoft.com/office/drawing/2014/main" id="{A5F93397-A5E6-2F20-FA54-23E0A9E4517D}"/>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830564" y="778110"/>
            <a:ext cx="1663699" cy="286017"/>
          </a:xfrm>
          <a:prstGeom prst="rect">
            <a:avLst/>
          </a:prstGeom>
          <a:ln w="12700">
            <a:miter lim="400000"/>
          </a:ln>
        </p:spPr>
      </p:pic>
      <p:sp>
        <p:nvSpPr>
          <p:cNvPr id="10" name="Pladsholder til billede 9">
            <a:extLst>
              <a:ext uri="{FF2B5EF4-FFF2-40B4-BE49-F238E27FC236}">
                <a16:creationId xmlns:a16="http://schemas.microsoft.com/office/drawing/2014/main" id="{9F211235-3CF8-607C-8C75-5C8B6F0BFE45}"/>
              </a:ext>
            </a:extLst>
          </p:cNvPr>
          <p:cNvSpPr>
            <a:spLocks noGrp="1"/>
          </p:cNvSpPr>
          <p:nvPr>
            <p:ph type="pic" sz="quarter" idx="10"/>
          </p:nvPr>
        </p:nvSpPr>
        <p:spPr>
          <a:xfrm>
            <a:off x="6076524" y="0"/>
            <a:ext cx="6115477" cy="6858000"/>
          </a:xfrm>
          <a:custGeom>
            <a:avLst/>
            <a:gdLst>
              <a:gd name="connsiteX0" fmla="*/ 3097942 w 6115477"/>
              <a:gd name="connsiteY0" fmla="*/ 360991 h 6858000"/>
              <a:gd name="connsiteX1" fmla="*/ 5048086 w 6115477"/>
              <a:gd name="connsiteY1" fmla="*/ 1133487 h 6858000"/>
              <a:gd name="connsiteX2" fmla="*/ 4484764 w 6115477"/>
              <a:gd name="connsiteY2" fmla="*/ 4212194 h 6858000"/>
              <a:gd name="connsiteX3" fmla="*/ 4387400 w 6115477"/>
              <a:gd name="connsiteY3" fmla="*/ 4226220 h 6858000"/>
              <a:gd name="connsiteX4" fmla="*/ 3796261 w 6115477"/>
              <a:gd name="connsiteY4" fmla="*/ 3903622 h 6858000"/>
              <a:gd name="connsiteX5" fmla="*/ 3754534 w 6115477"/>
              <a:gd name="connsiteY5" fmla="*/ 3763362 h 6858000"/>
              <a:gd name="connsiteX6" fmla="*/ 3726715 w 6115477"/>
              <a:gd name="connsiteY6" fmla="*/ 3742323 h 6858000"/>
              <a:gd name="connsiteX7" fmla="*/ 3719760 w 6115477"/>
              <a:gd name="connsiteY7" fmla="*/ 3749336 h 6858000"/>
              <a:gd name="connsiteX8" fmla="*/ 3712806 w 6115477"/>
              <a:gd name="connsiteY8" fmla="*/ 3756349 h 6858000"/>
              <a:gd name="connsiteX9" fmla="*/ 3698897 w 6115477"/>
              <a:gd name="connsiteY9" fmla="*/ 3791414 h 6858000"/>
              <a:gd name="connsiteX10" fmla="*/ 4867266 w 6115477"/>
              <a:gd name="connsiteY10" fmla="*/ 4639987 h 6858000"/>
              <a:gd name="connsiteX11" fmla="*/ 6068128 w 6115477"/>
              <a:gd name="connsiteY11" fmla="*/ 3719238 h 6858000"/>
              <a:gd name="connsiteX12" fmla="*/ 6115477 w 6115477"/>
              <a:gd name="connsiteY12" fmla="*/ 3623370 h 6858000"/>
              <a:gd name="connsiteX13" fmla="*/ 6115477 w 6115477"/>
              <a:gd name="connsiteY13" fmla="*/ 6155481 h 6858000"/>
              <a:gd name="connsiteX14" fmla="*/ 6032540 w 6115477"/>
              <a:gd name="connsiteY14" fmla="*/ 6197000 h 6858000"/>
              <a:gd name="connsiteX15" fmla="*/ 2808711 w 6115477"/>
              <a:gd name="connsiteY15" fmla="*/ 5705963 h 6858000"/>
              <a:gd name="connsiteX16" fmla="*/ 3372032 w 6115477"/>
              <a:gd name="connsiteY16" fmla="*/ 2627256 h 6858000"/>
              <a:gd name="connsiteX17" fmla="*/ 3476350 w 6115477"/>
              <a:gd name="connsiteY17" fmla="*/ 2620243 h 6858000"/>
              <a:gd name="connsiteX18" fmla="*/ 4060535 w 6115477"/>
              <a:gd name="connsiteY18" fmla="*/ 2935828 h 6858000"/>
              <a:gd name="connsiteX19" fmla="*/ 4109217 w 6115477"/>
              <a:gd name="connsiteY19" fmla="*/ 3076088 h 6858000"/>
              <a:gd name="connsiteX20" fmla="*/ 4137036 w 6115477"/>
              <a:gd name="connsiteY20" fmla="*/ 3097127 h 6858000"/>
              <a:gd name="connsiteX21" fmla="*/ 4164854 w 6115477"/>
              <a:gd name="connsiteY21" fmla="*/ 3055049 h 6858000"/>
              <a:gd name="connsiteX22" fmla="*/ 3246265 w 6115477"/>
              <a:gd name="connsiteY22" fmla="*/ 2172370 h 6858000"/>
              <a:gd name="connsiteX23" fmla="*/ 2989530 w 6115477"/>
              <a:gd name="connsiteY23" fmla="*/ 2199463 h 6858000"/>
              <a:gd name="connsiteX24" fmla="*/ 1612523 w 6115477"/>
              <a:gd name="connsiteY24" fmla="*/ 3545959 h 6858000"/>
              <a:gd name="connsiteX25" fmla="*/ 2732210 w 6115477"/>
              <a:gd name="connsiteY25" fmla="*/ 6540510 h 6858000"/>
              <a:gd name="connsiteX26" fmla="*/ 3281622 w 6115477"/>
              <a:gd name="connsiteY26" fmla="*/ 6843823 h 6858000"/>
              <a:gd name="connsiteX27" fmla="*/ 3320286 w 6115477"/>
              <a:gd name="connsiteY27" fmla="*/ 6858000 h 6858000"/>
              <a:gd name="connsiteX28" fmla="*/ 1738891 w 6115477"/>
              <a:gd name="connsiteY28" fmla="*/ 6858000 h 6858000"/>
              <a:gd name="connsiteX29" fmla="*/ 1726405 w 6115477"/>
              <a:gd name="connsiteY29" fmla="*/ 6850836 h 6858000"/>
              <a:gd name="connsiteX30" fmla="*/ 381563 w 6115477"/>
              <a:gd name="connsiteY30" fmla="*/ 5348300 h 6858000"/>
              <a:gd name="connsiteX31" fmla="*/ 145107 w 6115477"/>
              <a:gd name="connsiteY31" fmla="*/ 2676347 h 6858000"/>
              <a:gd name="connsiteX32" fmla="*/ 3097942 w 6115477"/>
              <a:gd name="connsiteY32" fmla="*/ 360991 h 6858000"/>
              <a:gd name="connsiteX33" fmla="*/ 4590885 w 6115477"/>
              <a:gd name="connsiteY33" fmla="*/ 0 h 6858000"/>
              <a:gd name="connsiteX34" fmla="*/ 6115477 w 6115477"/>
              <a:gd name="connsiteY34" fmla="*/ 0 h 6858000"/>
              <a:gd name="connsiteX35" fmla="*/ 6115477 w 6115477"/>
              <a:gd name="connsiteY35" fmla="*/ 1478397 h 6858000"/>
              <a:gd name="connsiteX36" fmla="*/ 6086069 w 6115477"/>
              <a:gd name="connsiteY36" fmla="*/ 1413064 h 6858000"/>
              <a:gd name="connsiteX37" fmla="*/ 5124586 w 6115477"/>
              <a:gd name="connsiteY37" fmla="*/ 298940 h 6858000"/>
              <a:gd name="connsiteX38" fmla="*/ 4722511 w 6115477"/>
              <a:gd name="connsiteY38" fmla="*/ 59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115477" h="6858000">
                <a:moveTo>
                  <a:pt x="3097942" y="360991"/>
                </a:moveTo>
                <a:cubicBezTo>
                  <a:pt x="3783738" y="359646"/>
                  <a:pt x="4476724" y="600718"/>
                  <a:pt x="5048086" y="1133487"/>
                </a:cubicBezTo>
                <a:cubicBezTo>
                  <a:pt x="6035636" y="2045177"/>
                  <a:pt x="5938272" y="4029856"/>
                  <a:pt x="4484764" y="4212194"/>
                </a:cubicBezTo>
                <a:cubicBezTo>
                  <a:pt x="4449992" y="4219207"/>
                  <a:pt x="4422173" y="4219207"/>
                  <a:pt x="4387400" y="4226220"/>
                </a:cubicBezTo>
                <a:cubicBezTo>
                  <a:pt x="4143990" y="4226220"/>
                  <a:pt x="3914489" y="4135051"/>
                  <a:pt x="3796261" y="3903622"/>
                </a:cubicBezTo>
                <a:cubicBezTo>
                  <a:pt x="3775397" y="3847518"/>
                  <a:pt x="3754534" y="3763362"/>
                  <a:pt x="3754534" y="3763362"/>
                </a:cubicBezTo>
                <a:cubicBezTo>
                  <a:pt x="3747579" y="3749336"/>
                  <a:pt x="3740624" y="3742323"/>
                  <a:pt x="3726715" y="3742323"/>
                </a:cubicBezTo>
                <a:cubicBezTo>
                  <a:pt x="3726715" y="3742323"/>
                  <a:pt x="3719760" y="3742323"/>
                  <a:pt x="3719760" y="3749336"/>
                </a:cubicBezTo>
                <a:cubicBezTo>
                  <a:pt x="3712806" y="3749336"/>
                  <a:pt x="3712806" y="3756349"/>
                  <a:pt x="3712806" y="3756349"/>
                </a:cubicBezTo>
                <a:cubicBezTo>
                  <a:pt x="3705852" y="3763362"/>
                  <a:pt x="3698897" y="3777388"/>
                  <a:pt x="3698897" y="3791414"/>
                </a:cubicBezTo>
                <a:cubicBezTo>
                  <a:pt x="3538942" y="4408558"/>
                  <a:pt x="4171808" y="4780247"/>
                  <a:pt x="4867266" y="4639987"/>
                </a:cubicBezTo>
                <a:cubicBezTo>
                  <a:pt x="5308013" y="4560214"/>
                  <a:pt x="5771715" y="4272106"/>
                  <a:pt x="6068128" y="3719238"/>
                </a:cubicBezTo>
                <a:lnTo>
                  <a:pt x="6115477" y="3623370"/>
                </a:lnTo>
                <a:lnTo>
                  <a:pt x="6115477" y="6155481"/>
                </a:lnTo>
                <a:lnTo>
                  <a:pt x="6032540" y="6197000"/>
                </a:lnTo>
                <a:cubicBezTo>
                  <a:pt x="5009917" y="6670716"/>
                  <a:pt x="3747579" y="6577767"/>
                  <a:pt x="2808711" y="5705963"/>
                </a:cubicBezTo>
                <a:cubicBezTo>
                  <a:pt x="1828115" y="4801286"/>
                  <a:pt x="1918525" y="2809594"/>
                  <a:pt x="3372032" y="2627256"/>
                </a:cubicBezTo>
                <a:cubicBezTo>
                  <a:pt x="3406804" y="2620243"/>
                  <a:pt x="3441578" y="2620243"/>
                  <a:pt x="3476350" y="2620243"/>
                </a:cubicBezTo>
                <a:cubicBezTo>
                  <a:pt x="3712806" y="2613230"/>
                  <a:pt x="3942307" y="2704399"/>
                  <a:pt x="4060535" y="2935828"/>
                </a:cubicBezTo>
                <a:cubicBezTo>
                  <a:pt x="4088353" y="2991932"/>
                  <a:pt x="4109217" y="3076088"/>
                  <a:pt x="4109217" y="3076088"/>
                </a:cubicBezTo>
                <a:cubicBezTo>
                  <a:pt x="4109217" y="3076088"/>
                  <a:pt x="4123126" y="3097127"/>
                  <a:pt x="4137036" y="3097127"/>
                </a:cubicBezTo>
                <a:cubicBezTo>
                  <a:pt x="4143990" y="3097127"/>
                  <a:pt x="4157899" y="3083101"/>
                  <a:pt x="4164854" y="3055049"/>
                </a:cubicBezTo>
                <a:cubicBezTo>
                  <a:pt x="4304815" y="2508912"/>
                  <a:pt x="3832447" y="2161440"/>
                  <a:pt x="3246265" y="2172370"/>
                </a:cubicBezTo>
                <a:cubicBezTo>
                  <a:pt x="3162525" y="2173932"/>
                  <a:pt x="3076462" y="2182807"/>
                  <a:pt x="2989530" y="2199463"/>
                </a:cubicBezTo>
                <a:cubicBezTo>
                  <a:pt x="2447072" y="2304658"/>
                  <a:pt x="1876797" y="2711412"/>
                  <a:pt x="1612523" y="3545959"/>
                </a:cubicBezTo>
                <a:cubicBezTo>
                  <a:pt x="1243930" y="4724143"/>
                  <a:pt x="1800297" y="5874275"/>
                  <a:pt x="2732210" y="6540510"/>
                </a:cubicBezTo>
                <a:cubicBezTo>
                  <a:pt x="2906075" y="6663238"/>
                  <a:pt x="3090371" y="6763173"/>
                  <a:pt x="3281622" y="6843823"/>
                </a:cubicBezTo>
                <a:lnTo>
                  <a:pt x="3320286" y="6858000"/>
                </a:lnTo>
                <a:lnTo>
                  <a:pt x="1738891" y="6858000"/>
                </a:lnTo>
                <a:lnTo>
                  <a:pt x="1726405" y="6850836"/>
                </a:lnTo>
                <a:cubicBezTo>
                  <a:pt x="1134396" y="6482653"/>
                  <a:pt x="652791" y="5951418"/>
                  <a:pt x="381563" y="5348300"/>
                </a:cubicBezTo>
                <a:cubicBezTo>
                  <a:pt x="-56576" y="4352454"/>
                  <a:pt x="-91349" y="3440764"/>
                  <a:pt x="145107" y="2676347"/>
                </a:cubicBezTo>
                <a:cubicBezTo>
                  <a:pt x="505659" y="1249640"/>
                  <a:pt x="1788697" y="363557"/>
                  <a:pt x="3097942" y="360991"/>
                </a:cubicBezTo>
                <a:close/>
                <a:moveTo>
                  <a:pt x="4590885" y="0"/>
                </a:moveTo>
                <a:lnTo>
                  <a:pt x="6115477" y="0"/>
                </a:lnTo>
                <a:lnTo>
                  <a:pt x="6115477" y="1478397"/>
                </a:lnTo>
                <a:lnTo>
                  <a:pt x="6086069" y="1413064"/>
                </a:lnTo>
                <a:cubicBezTo>
                  <a:pt x="5868129" y="974517"/>
                  <a:pt x="5532298" y="590418"/>
                  <a:pt x="5124586" y="298940"/>
                </a:cubicBezTo>
                <a:cubicBezTo>
                  <a:pt x="4996796" y="206895"/>
                  <a:pt x="4862159" y="127670"/>
                  <a:pt x="4722511" y="59786"/>
                </a:cubicBezTo>
                <a:close/>
              </a:path>
            </a:pathLst>
          </a:custGeom>
          <a:solidFill>
            <a:schemeClr val="bg1"/>
          </a:solidFill>
        </p:spPr>
        <p:txBody>
          <a:bodyPr wrap="square" anchor="ctr">
            <a:noAutofit/>
          </a:bodyPr>
          <a:lstStyle>
            <a:lvl1pPr algn="ctr">
              <a:defRPr>
                <a:solidFill>
                  <a:schemeClr val="tx2"/>
                </a:solidFill>
              </a:defRPr>
            </a:lvl1pPr>
          </a:lstStyle>
          <a:p>
            <a:r>
              <a:rPr lang="da-DK"/>
              <a:t>Klik på ikonet for at tilføje et billede</a:t>
            </a:r>
            <a:endParaRPr lang="en-US"/>
          </a:p>
        </p:txBody>
      </p:sp>
    </p:spTree>
    <p:extLst>
      <p:ext uri="{BB962C8B-B14F-4D97-AF65-F5344CB8AC3E}">
        <p14:creationId xmlns:p14="http://schemas.microsoft.com/office/powerpoint/2010/main" val="4177322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192B3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2C6E8-63BD-9AF0-C249-1557AAB880AF}"/>
              </a:ext>
            </a:extLst>
          </p:cNvPr>
          <p:cNvSpPr>
            <a:spLocks noGrp="1"/>
          </p:cNvSpPr>
          <p:nvPr>
            <p:ph type="ctrTitle" hasCustomPrompt="1"/>
          </p:nvPr>
        </p:nvSpPr>
        <p:spPr>
          <a:xfrm>
            <a:off x="830263" y="2091640"/>
            <a:ext cx="4433887" cy="2519363"/>
          </a:xfrm>
        </p:spPr>
        <p:txBody>
          <a:bodyPr anchor="b"/>
          <a:lstStyle>
            <a:lvl1pPr algn="l">
              <a:defRPr sz="4200">
                <a:solidFill>
                  <a:schemeClr val="bg1"/>
                </a:solidFill>
              </a:defRPr>
            </a:lvl1pPr>
          </a:lstStyle>
          <a:p>
            <a:r>
              <a:rPr lang="da-DK"/>
              <a:t>Klik for at redigere titeltypografien i masteren</a:t>
            </a:r>
          </a:p>
        </p:txBody>
      </p:sp>
      <p:sp>
        <p:nvSpPr>
          <p:cNvPr id="3" name="Subtitle 2">
            <a:extLst>
              <a:ext uri="{FF2B5EF4-FFF2-40B4-BE49-F238E27FC236}">
                <a16:creationId xmlns:a16="http://schemas.microsoft.com/office/drawing/2014/main" id="{07105BED-AEC6-7489-627D-C4BD36A60476}"/>
              </a:ext>
            </a:extLst>
          </p:cNvPr>
          <p:cNvSpPr>
            <a:spLocks noGrp="1"/>
          </p:cNvSpPr>
          <p:nvPr>
            <p:ph type="subTitle" idx="1" hasCustomPrompt="1"/>
          </p:nvPr>
        </p:nvSpPr>
        <p:spPr>
          <a:xfrm>
            <a:off x="830263" y="4891991"/>
            <a:ext cx="4433887" cy="558799"/>
          </a:xfrm>
          <a:prstGeom prst="rect">
            <a:avLst/>
          </a:prstGeom>
        </p:spPr>
        <p:txBody>
          <a:bodyPr/>
          <a:lstStyle>
            <a:lvl1pPr marL="0" indent="0" algn="l">
              <a:buNone/>
              <a:defRPr sz="2200">
                <a:solidFill>
                  <a:schemeClr val="bg1"/>
                </a:solidFill>
                <a:latin typeface="IBM Plex Sans Medium" panose="020B06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grpSp>
        <p:nvGrpSpPr>
          <p:cNvPr id="5" name="Gruppe 4">
            <a:extLst>
              <a:ext uri="{FF2B5EF4-FFF2-40B4-BE49-F238E27FC236}">
                <a16:creationId xmlns:a16="http://schemas.microsoft.com/office/drawing/2014/main" id="{3563AE1B-5A4D-8310-6D2B-405290F3DBBC}"/>
              </a:ext>
            </a:extLst>
          </p:cNvPr>
          <p:cNvGrpSpPr/>
          <p:nvPr/>
        </p:nvGrpSpPr>
        <p:grpSpPr>
          <a:xfrm>
            <a:off x="830263" y="777875"/>
            <a:ext cx="1665288" cy="287338"/>
            <a:chOff x="830263" y="777875"/>
            <a:chExt cx="1665288" cy="287338"/>
          </a:xfrm>
        </p:grpSpPr>
        <p:sp>
          <p:nvSpPr>
            <p:cNvPr id="6" name="Freeform 5">
              <a:extLst>
                <a:ext uri="{FF2B5EF4-FFF2-40B4-BE49-F238E27FC236}">
                  <a16:creationId xmlns:a16="http://schemas.microsoft.com/office/drawing/2014/main" id="{4E4F3316-82CE-15A7-BD9A-2C61232B6CC7}"/>
                </a:ext>
              </a:extLst>
            </p:cNvPr>
            <p:cNvSpPr>
              <a:spLocks/>
            </p:cNvSpPr>
            <p:nvPr/>
          </p:nvSpPr>
          <p:spPr bwMode="auto">
            <a:xfrm>
              <a:off x="1820863" y="809625"/>
              <a:ext cx="119063" cy="188913"/>
            </a:xfrm>
            <a:custGeom>
              <a:avLst/>
              <a:gdLst>
                <a:gd name="T0" fmla="*/ 195 w 724"/>
                <a:gd name="T1" fmla="*/ 316 h 1151"/>
                <a:gd name="T2" fmla="*/ 195 w 724"/>
                <a:gd name="T3" fmla="*/ 316 h 1151"/>
                <a:gd name="T4" fmla="*/ 420 w 724"/>
                <a:gd name="T5" fmla="*/ 149 h 1151"/>
                <a:gd name="T6" fmla="*/ 622 w 724"/>
                <a:gd name="T7" fmla="*/ 180 h 1151"/>
                <a:gd name="T8" fmla="*/ 632 w 724"/>
                <a:gd name="T9" fmla="*/ 20 h 1151"/>
                <a:gd name="T10" fmla="*/ 430 w 724"/>
                <a:gd name="T11" fmla="*/ 0 h 1151"/>
                <a:gd name="T12" fmla="*/ 9 w 724"/>
                <a:gd name="T13" fmla="*/ 332 h 1151"/>
                <a:gd name="T14" fmla="*/ 522 w 724"/>
                <a:gd name="T15" fmla="*/ 787 h 1151"/>
                <a:gd name="T16" fmla="*/ 286 w 724"/>
                <a:gd name="T17" fmla="*/ 995 h 1151"/>
                <a:gd name="T18" fmla="*/ 47 w 724"/>
                <a:gd name="T19" fmla="*/ 947 h 1151"/>
                <a:gd name="T20" fmla="*/ 44 w 724"/>
                <a:gd name="T21" fmla="*/ 1112 h 1151"/>
                <a:gd name="T22" fmla="*/ 269 w 724"/>
                <a:gd name="T23" fmla="*/ 1151 h 1151"/>
                <a:gd name="T24" fmla="*/ 715 w 724"/>
                <a:gd name="T25" fmla="*/ 767 h 1151"/>
                <a:gd name="T26" fmla="*/ 195 w 724"/>
                <a:gd name="T27" fmla="*/ 31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1151">
                  <a:moveTo>
                    <a:pt x="195" y="316"/>
                  </a:moveTo>
                  <a:lnTo>
                    <a:pt x="195" y="316"/>
                  </a:lnTo>
                  <a:cubicBezTo>
                    <a:pt x="195" y="212"/>
                    <a:pt x="281" y="149"/>
                    <a:pt x="420" y="149"/>
                  </a:cubicBezTo>
                  <a:cubicBezTo>
                    <a:pt x="486" y="149"/>
                    <a:pt x="557" y="160"/>
                    <a:pt x="622" y="180"/>
                  </a:cubicBezTo>
                  <a:lnTo>
                    <a:pt x="632" y="20"/>
                  </a:lnTo>
                  <a:cubicBezTo>
                    <a:pt x="564" y="8"/>
                    <a:pt x="496" y="0"/>
                    <a:pt x="430" y="0"/>
                  </a:cubicBezTo>
                  <a:cubicBezTo>
                    <a:pt x="170" y="0"/>
                    <a:pt x="0" y="140"/>
                    <a:pt x="9" y="332"/>
                  </a:cubicBezTo>
                  <a:cubicBezTo>
                    <a:pt x="25" y="692"/>
                    <a:pt x="494" y="537"/>
                    <a:pt x="522" y="787"/>
                  </a:cubicBezTo>
                  <a:cubicBezTo>
                    <a:pt x="536" y="917"/>
                    <a:pt x="408" y="995"/>
                    <a:pt x="286" y="995"/>
                  </a:cubicBezTo>
                  <a:cubicBezTo>
                    <a:pt x="205" y="995"/>
                    <a:pt x="110" y="970"/>
                    <a:pt x="47" y="947"/>
                  </a:cubicBezTo>
                  <a:lnTo>
                    <a:pt x="44" y="1112"/>
                  </a:lnTo>
                  <a:cubicBezTo>
                    <a:pt x="109" y="1129"/>
                    <a:pt x="188" y="1151"/>
                    <a:pt x="269" y="1151"/>
                  </a:cubicBezTo>
                  <a:cubicBezTo>
                    <a:pt x="536" y="1151"/>
                    <a:pt x="724" y="972"/>
                    <a:pt x="715" y="767"/>
                  </a:cubicBezTo>
                  <a:cubicBezTo>
                    <a:pt x="699" y="418"/>
                    <a:pt x="195" y="539"/>
                    <a:pt x="195" y="3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7" name="Freeform 6">
              <a:extLst>
                <a:ext uri="{FF2B5EF4-FFF2-40B4-BE49-F238E27FC236}">
                  <a16:creationId xmlns:a16="http://schemas.microsoft.com/office/drawing/2014/main" id="{0B33BE0E-FD6D-6A63-2CC9-C01565808676}"/>
                </a:ext>
              </a:extLst>
            </p:cNvPr>
            <p:cNvSpPr>
              <a:spLocks noEditPoints="1"/>
            </p:cNvSpPr>
            <p:nvPr/>
          </p:nvSpPr>
          <p:spPr bwMode="auto">
            <a:xfrm>
              <a:off x="2246313" y="852488"/>
              <a:ext cx="112713"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2"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8" name="Freeform 7">
              <a:extLst>
                <a:ext uri="{FF2B5EF4-FFF2-40B4-BE49-F238E27FC236}">
                  <a16:creationId xmlns:a16="http://schemas.microsoft.com/office/drawing/2014/main" id="{9E4D8D36-92F3-5383-34AF-2B95BC3C9625}"/>
                </a:ext>
              </a:extLst>
            </p:cNvPr>
            <p:cNvSpPr>
              <a:spLocks noEditPoints="1"/>
            </p:cNvSpPr>
            <p:nvPr/>
          </p:nvSpPr>
          <p:spPr bwMode="auto">
            <a:xfrm>
              <a:off x="1387476" y="852488"/>
              <a:ext cx="111125"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1"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9" name="Freeform 8">
              <a:extLst>
                <a:ext uri="{FF2B5EF4-FFF2-40B4-BE49-F238E27FC236}">
                  <a16:creationId xmlns:a16="http://schemas.microsoft.com/office/drawing/2014/main" id="{8757374E-019C-5CF3-7D72-76E307430810}"/>
                </a:ext>
              </a:extLst>
            </p:cNvPr>
            <p:cNvSpPr>
              <a:spLocks noEditPoints="1"/>
            </p:cNvSpPr>
            <p:nvPr/>
          </p:nvSpPr>
          <p:spPr bwMode="auto">
            <a:xfrm>
              <a:off x="1955801" y="852488"/>
              <a:ext cx="112713" cy="144463"/>
            </a:xfrm>
            <a:custGeom>
              <a:avLst/>
              <a:gdLst>
                <a:gd name="T0" fmla="*/ 532 w 687"/>
                <a:gd name="T1" fmla="*/ 494 h 881"/>
                <a:gd name="T2" fmla="*/ 532 w 687"/>
                <a:gd name="T3" fmla="*/ 494 h 881"/>
                <a:gd name="T4" fmla="*/ 532 w 687"/>
                <a:gd name="T5" fmla="*/ 578 h 881"/>
                <a:gd name="T6" fmla="*/ 332 w 687"/>
                <a:gd name="T7" fmla="*/ 737 h 881"/>
                <a:gd name="T8" fmla="*/ 161 w 687"/>
                <a:gd name="T9" fmla="*/ 663 h 881"/>
                <a:gd name="T10" fmla="*/ 155 w 687"/>
                <a:gd name="T11" fmla="*/ 618 h 881"/>
                <a:gd name="T12" fmla="*/ 321 w 687"/>
                <a:gd name="T13" fmla="*/ 494 h 881"/>
                <a:gd name="T14" fmla="*/ 532 w 687"/>
                <a:gd name="T15" fmla="*/ 494 h 881"/>
                <a:gd name="T16" fmla="*/ 532 w 687"/>
                <a:gd name="T17" fmla="*/ 494 h 881"/>
                <a:gd name="T18" fmla="*/ 140 w 687"/>
                <a:gd name="T19" fmla="*/ 218 h 881"/>
                <a:gd name="T20" fmla="*/ 140 w 687"/>
                <a:gd name="T21" fmla="*/ 218 h 881"/>
                <a:gd name="T22" fmla="*/ 344 w 687"/>
                <a:gd name="T23" fmla="*/ 145 h 881"/>
                <a:gd name="T24" fmla="*/ 532 w 687"/>
                <a:gd name="T25" fmla="*/ 303 h 881"/>
                <a:gd name="T26" fmla="*/ 532 w 687"/>
                <a:gd name="T27" fmla="*/ 356 h 881"/>
                <a:gd name="T28" fmla="*/ 312 w 687"/>
                <a:gd name="T29" fmla="*/ 356 h 881"/>
                <a:gd name="T30" fmla="*/ 0 w 687"/>
                <a:gd name="T31" fmla="*/ 620 h 881"/>
                <a:gd name="T32" fmla="*/ 68 w 687"/>
                <a:gd name="T33" fmla="*/ 798 h 881"/>
                <a:gd name="T34" fmla="*/ 336 w 687"/>
                <a:gd name="T35" fmla="*/ 881 h 881"/>
                <a:gd name="T36" fmla="*/ 433 w 687"/>
                <a:gd name="T37" fmla="*/ 875 h 881"/>
                <a:gd name="T38" fmla="*/ 566 w 687"/>
                <a:gd name="T39" fmla="*/ 829 h 881"/>
                <a:gd name="T40" fmla="*/ 667 w 687"/>
                <a:gd name="T41" fmla="*/ 706 h 881"/>
                <a:gd name="T42" fmla="*/ 687 w 687"/>
                <a:gd name="T43" fmla="*/ 587 h 881"/>
                <a:gd name="T44" fmla="*/ 687 w 687"/>
                <a:gd name="T45" fmla="*/ 295 h 881"/>
                <a:gd name="T46" fmla="*/ 344 w 687"/>
                <a:gd name="T47" fmla="*/ 0 h 881"/>
                <a:gd name="T48" fmla="*/ 31 w 687"/>
                <a:gd name="T49" fmla="*/ 129 h 881"/>
                <a:gd name="T50" fmla="*/ 140 w 687"/>
                <a:gd name="T51" fmla="*/ 218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7" h="881">
                  <a:moveTo>
                    <a:pt x="532" y="494"/>
                  </a:moveTo>
                  <a:lnTo>
                    <a:pt x="532" y="494"/>
                  </a:lnTo>
                  <a:lnTo>
                    <a:pt x="532" y="578"/>
                  </a:lnTo>
                  <a:cubicBezTo>
                    <a:pt x="532" y="692"/>
                    <a:pt x="484" y="737"/>
                    <a:pt x="332" y="737"/>
                  </a:cubicBezTo>
                  <a:cubicBezTo>
                    <a:pt x="181" y="737"/>
                    <a:pt x="167" y="683"/>
                    <a:pt x="161" y="663"/>
                  </a:cubicBezTo>
                  <a:cubicBezTo>
                    <a:pt x="157" y="650"/>
                    <a:pt x="155" y="635"/>
                    <a:pt x="155" y="618"/>
                  </a:cubicBezTo>
                  <a:cubicBezTo>
                    <a:pt x="155" y="509"/>
                    <a:pt x="239" y="494"/>
                    <a:pt x="321" y="494"/>
                  </a:cubicBezTo>
                  <a:lnTo>
                    <a:pt x="532" y="494"/>
                  </a:lnTo>
                  <a:lnTo>
                    <a:pt x="532" y="494"/>
                  </a:lnTo>
                  <a:close/>
                  <a:moveTo>
                    <a:pt x="140" y="218"/>
                  </a:moveTo>
                  <a:lnTo>
                    <a:pt x="140" y="218"/>
                  </a:lnTo>
                  <a:cubicBezTo>
                    <a:pt x="193" y="161"/>
                    <a:pt x="247" y="145"/>
                    <a:pt x="344" y="145"/>
                  </a:cubicBezTo>
                  <a:cubicBezTo>
                    <a:pt x="479" y="145"/>
                    <a:pt x="532" y="189"/>
                    <a:pt x="532" y="303"/>
                  </a:cubicBezTo>
                  <a:lnTo>
                    <a:pt x="532" y="356"/>
                  </a:lnTo>
                  <a:lnTo>
                    <a:pt x="312" y="356"/>
                  </a:lnTo>
                  <a:cubicBezTo>
                    <a:pt x="117" y="356"/>
                    <a:pt x="0" y="454"/>
                    <a:pt x="0" y="620"/>
                  </a:cubicBezTo>
                  <a:cubicBezTo>
                    <a:pt x="0" y="690"/>
                    <a:pt x="25" y="756"/>
                    <a:pt x="68" y="798"/>
                  </a:cubicBezTo>
                  <a:cubicBezTo>
                    <a:pt x="126" y="858"/>
                    <a:pt x="193" y="881"/>
                    <a:pt x="336" y="881"/>
                  </a:cubicBezTo>
                  <a:cubicBezTo>
                    <a:pt x="378" y="881"/>
                    <a:pt x="404" y="879"/>
                    <a:pt x="433" y="875"/>
                  </a:cubicBezTo>
                  <a:cubicBezTo>
                    <a:pt x="491" y="867"/>
                    <a:pt x="535" y="852"/>
                    <a:pt x="566" y="829"/>
                  </a:cubicBezTo>
                  <a:cubicBezTo>
                    <a:pt x="614" y="800"/>
                    <a:pt x="648" y="758"/>
                    <a:pt x="667" y="706"/>
                  </a:cubicBezTo>
                  <a:cubicBezTo>
                    <a:pt x="680" y="671"/>
                    <a:pt x="687" y="631"/>
                    <a:pt x="687" y="587"/>
                  </a:cubicBezTo>
                  <a:lnTo>
                    <a:pt x="687" y="295"/>
                  </a:lnTo>
                  <a:cubicBezTo>
                    <a:pt x="687" y="38"/>
                    <a:pt x="472" y="0"/>
                    <a:pt x="344" y="0"/>
                  </a:cubicBezTo>
                  <a:cubicBezTo>
                    <a:pt x="219" y="0"/>
                    <a:pt x="129" y="17"/>
                    <a:pt x="31" y="129"/>
                  </a:cubicBezTo>
                  <a:lnTo>
                    <a:pt x="140" y="2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0" name="Freeform 9">
              <a:extLst>
                <a:ext uri="{FF2B5EF4-FFF2-40B4-BE49-F238E27FC236}">
                  <a16:creationId xmlns:a16="http://schemas.microsoft.com/office/drawing/2014/main" id="{F5C95B4E-A8EF-E6AC-7278-5C6C31677C3A}"/>
                </a:ext>
              </a:extLst>
            </p:cNvPr>
            <p:cNvSpPr>
              <a:spLocks/>
            </p:cNvSpPr>
            <p:nvPr/>
          </p:nvSpPr>
          <p:spPr bwMode="auto">
            <a:xfrm>
              <a:off x="1098551" y="811213"/>
              <a:ext cx="28575" cy="184150"/>
            </a:xfrm>
            <a:custGeom>
              <a:avLst/>
              <a:gdLst>
                <a:gd name="T0" fmla="*/ 0 w 177"/>
                <a:gd name="T1" fmla="*/ 0 h 1118"/>
                <a:gd name="T2" fmla="*/ 0 w 177"/>
                <a:gd name="T3" fmla="*/ 0 h 1118"/>
                <a:gd name="T4" fmla="*/ 177 w 177"/>
                <a:gd name="T5" fmla="*/ 0 h 1118"/>
                <a:gd name="T6" fmla="*/ 177 w 177"/>
                <a:gd name="T7" fmla="*/ 1118 h 1118"/>
                <a:gd name="T8" fmla="*/ 0 w 177"/>
                <a:gd name="T9" fmla="*/ 1118 h 1118"/>
                <a:gd name="T10" fmla="*/ 0 w 177"/>
                <a:gd name="T11" fmla="*/ 0 h 1118"/>
              </a:gdLst>
              <a:ahLst/>
              <a:cxnLst>
                <a:cxn ang="0">
                  <a:pos x="T0" y="T1"/>
                </a:cxn>
                <a:cxn ang="0">
                  <a:pos x="T2" y="T3"/>
                </a:cxn>
                <a:cxn ang="0">
                  <a:pos x="T4" y="T5"/>
                </a:cxn>
                <a:cxn ang="0">
                  <a:pos x="T6" y="T7"/>
                </a:cxn>
                <a:cxn ang="0">
                  <a:pos x="T8" y="T9"/>
                </a:cxn>
                <a:cxn ang="0">
                  <a:pos x="T10" y="T11"/>
                </a:cxn>
              </a:cxnLst>
              <a:rect l="0" t="0" r="r" b="b"/>
              <a:pathLst>
                <a:path w="177" h="1118">
                  <a:moveTo>
                    <a:pt x="0" y="0"/>
                  </a:moveTo>
                  <a:lnTo>
                    <a:pt x="0" y="0"/>
                  </a:lnTo>
                  <a:lnTo>
                    <a:pt x="177" y="0"/>
                  </a:lnTo>
                  <a:lnTo>
                    <a:pt x="177" y="1118"/>
                  </a:lnTo>
                  <a:lnTo>
                    <a:pt x="0" y="111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1" name="Freeform 10">
              <a:extLst>
                <a:ext uri="{FF2B5EF4-FFF2-40B4-BE49-F238E27FC236}">
                  <a16:creationId xmlns:a16="http://schemas.microsoft.com/office/drawing/2014/main" id="{75E6AA3D-0B57-42D4-878A-A803D0F2C1DA}"/>
                </a:ext>
              </a:extLst>
            </p:cNvPr>
            <p:cNvSpPr>
              <a:spLocks noEditPoints="1"/>
            </p:cNvSpPr>
            <p:nvPr/>
          </p:nvSpPr>
          <p:spPr bwMode="auto">
            <a:xfrm>
              <a:off x="2093913" y="852488"/>
              <a:ext cx="133350" cy="212725"/>
            </a:xfrm>
            <a:custGeom>
              <a:avLst/>
              <a:gdLst>
                <a:gd name="T0" fmla="*/ 367 w 816"/>
                <a:gd name="T1" fmla="*/ 133 h 1290"/>
                <a:gd name="T2" fmla="*/ 367 w 816"/>
                <a:gd name="T3" fmla="*/ 133 h 1290"/>
                <a:gd name="T4" fmla="*/ 552 w 816"/>
                <a:gd name="T5" fmla="*/ 310 h 1290"/>
                <a:gd name="T6" fmla="*/ 365 w 816"/>
                <a:gd name="T7" fmla="*/ 483 h 1290"/>
                <a:gd name="T8" fmla="*/ 176 w 816"/>
                <a:gd name="T9" fmla="*/ 309 h 1290"/>
                <a:gd name="T10" fmla="*/ 367 w 816"/>
                <a:gd name="T11" fmla="*/ 133 h 1290"/>
                <a:gd name="T12" fmla="*/ 367 w 816"/>
                <a:gd name="T13" fmla="*/ 133 h 1290"/>
                <a:gd name="T14" fmla="*/ 501 w 816"/>
                <a:gd name="T15" fmla="*/ 714 h 1290"/>
                <a:gd name="T16" fmla="*/ 501 w 816"/>
                <a:gd name="T17" fmla="*/ 714 h 1290"/>
                <a:gd name="T18" fmla="*/ 358 w 816"/>
                <a:gd name="T19" fmla="*/ 725 h 1290"/>
                <a:gd name="T20" fmla="*/ 218 w 816"/>
                <a:gd name="T21" fmla="*/ 663 h 1290"/>
                <a:gd name="T22" fmla="*/ 267 w 816"/>
                <a:gd name="T23" fmla="*/ 601 h 1290"/>
                <a:gd name="T24" fmla="*/ 363 w 816"/>
                <a:gd name="T25" fmla="*/ 609 h 1290"/>
                <a:gd name="T26" fmla="*/ 726 w 816"/>
                <a:gd name="T27" fmla="*/ 299 h 1290"/>
                <a:gd name="T28" fmla="*/ 683 w 816"/>
                <a:gd name="T29" fmla="*/ 148 h 1290"/>
                <a:gd name="T30" fmla="*/ 805 w 816"/>
                <a:gd name="T31" fmla="*/ 147 h 1290"/>
                <a:gd name="T32" fmla="*/ 805 w 816"/>
                <a:gd name="T33" fmla="*/ 1 h 1290"/>
                <a:gd name="T34" fmla="*/ 754 w 816"/>
                <a:gd name="T35" fmla="*/ 0 h 1290"/>
                <a:gd name="T36" fmla="*/ 748 w 816"/>
                <a:gd name="T37" fmla="*/ 0 h 1290"/>
                <a:gd name="T38" fmla="*/ 736 w 816"/>
                <a:gd name="T39" fmla="*/ 0 h 1290"/>
                <a:gd name="T40" fmla="*/ 648 w 816"/>
                <a:gd name="T41" fmla="*/ 6 h 1290"/>
                <a:gd name="T42" fmla="*/ 568 w 816"/>
                <a:gd name="T43" fmla="*/ 39 h 1290"/>
                <a:gd name="T44" fmla="*/ 519 w 816"/>
                <a:gd name="T45" fmla="*/ 20 h 1290"/>
                <a:gd name="T46" fmla="*/ 375 w 816"/>
                <a:gd name="T47" fmla="*/ 0 h 1290"/>
                <a:gd name="T48" fmla="*/ 0 w 816"/>
                <a:gd name="T49" fmla="*/ 326 h 1290"/>
                <a:gd name="T50" fmla="*/ 125 w 816"/>
                <a:gd name="T51" fmla="*/ 562 h 1290"/>
                <a:gd name="T52" fmla="*/ 24 w 816"/>
                <a:gd name="T53" fmla="*/ 707 h 1290"/>
                <a:gd name="T54" fmla="*/ 115 w 816"/>
                <a:gd name="T55" fmla="*/ 860 h 1290"/>
                <a:gd name="T56" fmla="*/ 315 w 816"/>
                <a:gd name="T57" fmla="*/ 874 h 1290"/>
                <a:gd name="T58" fmla="*/ 459 w 816"/>
                <a:gd name="T59" fmla="*/ 856 h 1290"/>
                <a:gd name="T60" fmla="*/ 633 w 816"/>
                <a:gd name="T61" fmla="*/ 976 h 1290"/>
                <a:gd name="T62" fmla="*/ 381 w 816"/>
                <a:gd name="T63" fmla="*/ 1152 h 1290"/>
                <a:gd name="T64" fmla="*/ 150 w 816"/>
                <a:gd name="T65" fmla="*/ 1021 h 1290"/>
                <a:gd name="T66" fmla="*/ 149 w 816"/>
                <a:gd name="T67" fmla="*/ 999 h 1290"/>
                <a:gd name="T68" fmla="*/ 13 w 816"/>
                <a:gd name="T69" fmla="*/ 999 h 1290"/>
                <a:gd name="T70" fmla="*/ 15 w 816"/>
                <a:gd name="T71" fmla="*/ 1048 h 1290"/>
                <a:gd name="T72" fmla="*/ 369 w 816"/>
                <a:gd name="T73" fmla="*/ 1283 h 1290"/>
                <a:gd name="T74" fmla="*/ 811 w 816"/>
                <a:gd name="T75" fmla="*/ 947 h 1290"/>
                <a:gd name="T76" fmla="*/ 501 w 816"/>
                <a:gd name="T77" fmla="*/ 714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6" h="1290">
                  <a:moveTo>
                    <a:pt x="367" y="133"/>
                  </a:moveTo>
                  <a:lnTo>
                    <a:pt x="367" y="133"/>
                  </a:lnTo>
                  <a:cubicBezTo>
                    <a:pt x="483" y="133"/>
                    <a:pt x="552" y="175"/>
                    <a:pt x="552" y="310"/>
                  </a:cubicBezTo>
                  <a:cubicBezTo>
                    <a:pt x="552" y="437"/>
                    <a:pt x="478" y="483"/>
                    <a:pt x="365" y="483"/>
                  </a:cubicBezTo>
                  <a:cubicBezTo>
                    <a:pt x="227" y="483"/>
                    <a:pt x="176" y="437"/>
                    <a:pt x="176" y="309"/>
                  </a:cubicBezTo>
                  <a:cubicBezTo>
                    <a:pt x="176" y="193"/>
                    <a:pt x="231" y="133"/>
                    <a:pt x="367" y="133"/>
                  </a:cubicBezTo>
                  <a:lnTo>
                    <a:pt x="367" y="133"/>
                  </a:lnTo>
                  <a:close/>
                  <a:moveTo>
                    <a:pt x="501" y="714"/>
                  </a:moveTo>
                  <a:lnTo>
                    <a:pt x="501" y="714"/>
                  </a:lnTo>
                  <a:lnTo>
                    <a:pt x="358" y="725"/>
                  </a:lnTo>
                  <a:cubicBezTo>
                    <a:pt x="252" y="741"/>
                    <a:pt x="216" y="730"/>
                    <a:pt x="218" y="663"/>
                  </a:cubicBezTo>
                  <a:cubicBezTo>
                    <a:pt x="219" y="639"/>
                    <a:pt x="233" y="614"/>
                    <a:pt x="267" y="601"/>
                  </a:cubicBezTo>
                  <a:cubicBezTo>
                    <a:pt x="292" y="606"/>
                    <a:pt x="331" y="609"/>
                    <a:pt x="363" y="609"/>
                  </a:cubicBezTo>
                  <a:cubicBezTo>
                    <a:pt x="599" y="609"/>
                    <a:pt x="726" y="481"/>
                    <a:pt x="726" y="299"/>
                  </a:cubicBezTo>
                  <a:cubicBezTo>
                    <a:pt x="726" y="250"/>
                    <a:pt x="711" y="196"/>
                    <a:pt x="683" y="148"/>
                  </a:cubicBezTo>
                  <a:cubicBezTo>
                    <a:pt x="712" y="143"/>
                    <a:pt x="755" y="141"/>
                    <a:pt x="805" y="147"/>
                  </a:cubicBezTo>
                  <a:lnTo>
                    <a:pt x="805" y="1"/>
                  </a:lnTo>
                  <a:cubicBezTo>
                    <a:pt x="789" y="0"/>
                    <a:pt x="772" y="0"/>
                    <a:pt x="754" y="0"/>
                  </a:cubicBezTo>
                  <a:lnTo>
                    <a:pt x="748" y="0"/>
                  </a:lnTo>
                  <a:lnTo>
                    <a:pt x="736" y="0"/>
                  </a:lnTo>
                  <a:cubicBezTo>
                    <a:pt x="706" y="0"/>
                    <a:pt x="677" y="2"/>
                    <a:pt x="648" y="6"/>
                  </a:cubicBezTo>
                  <a:cubicBezTo>
                    <a:pt x="610" y="11"/>
                    <a:pt x="588" y="21"/>
                    <a:pt x="568" y="39"/>
                  </a:cubicBezTo>
                  <a:cubicBezTo>
                    <a:pt x="557" y="33"/>
                    <a:pt x="531" y="23"/>
                    <a:pt x="519" y="20"/>
                  </a:cubicBezTo>
                  <a:cubicBezTo>
                    <a:pt x="491" y="15"/>
                    <a:pt x="426" y="0"/>
                    <a:pt x="375" y="0"/>
                  </a:cubicBezTo>
                  <a:cubicBezTo>
                    <a:pt x="135" y="0"/>
                    <a:pt x="0" y="148"/>
                    <a:pt x="0" y="326"/>
                  </a:cubicBezTo>
                  <a:cubicBezTo>
                    <a:pt x="0" y="430"/>
                    <a:pt x="43" y="516"/>
                    <a:pt x="125" y="562"/>
                  </a:cubicBezTo>
                  <a:cubicBezTo>
                    <a:pt x="66" y="587"/>
                    <a:pt x="24" y="646"/>
                    <a:pt x="24" y="707"/>
                  </a:cubicBezTo>
                  <a:cubicBezTo>
                    <a:pt x="24" y="778"/>
                    <a:pt x="63" y="836"/>
                    <a:pt x="115" y="860"/>
                  </a:cubicBezTo>
                  <a:cubicBezTo>
                    <a:pt x="192" y="895"/>
                    <a:pt x="315" y="874"/>
                    <a:pt x="315" y="874"/>
                  </a:cubicBezTo>
                  <a:lnTo>
                    <a:pt x="459" y="856"/>
                  </a:lnTo>
                  <a:cubicBezTo>
                    <a:pt x="554" y="844"/>
                    <a:pt x="631" y="904"/>
                    <a:pt x="633" y="976"/>
                  </a:cubicBezTo>
                  <a:cubicBezTo>
                    <a:pt x="636" y="1067"/>
                    <a:pt x="538" y="1152"/>
                    <a:pt x="381" y="1152"/>
                  </a:cubicBezTo>
                  <a:cubicBezTo>
                    <a:pt x="176" y="1152"/>
                    <a:pt x="152" y="1110"/>
                    <a:pt x="150" y="1021"/>
                  </a:cubicBezTo>
                  <a:cubicBezTo>
                    <a:pt x="149" y="1016"/>
                    <a:pt x="149" y="1004"/>
                    <a:pt x="149" y="999"/>
                  </a:cubicBezTo>
                  <a:lnTo>
                    <a:pt x="13" y="999"/>
                  </a:lnTo>
                  <a:cubicBezTo>
                    <a:pt x="13" y="999"/>
                    <a:pt x="14" y="1031"/>
                    <a:pt x="15" y="1048"/>
                  </a:cubicBezTo>
                  <a:cubicBezTo>
                    <a:pt x="20" y="1210"/>
                    <a:pt x="149" y="1290"/>
                    <a:pt x="369" y="1283"/>
                  </a:cubicBezTo>
                  <a:cubicBezTo>
                    <a:pt x="638" y="1275"/>
                    <a:pt x="816" y="1126"/>
                    <a:pt x="811" y="947"/>
                  </a:cubicBezTo>
                  <a:cubicBezTo>
                    <a:pt x="806" y="790"/>
                    <a:pt x="684" y="708"/>
                    <a:pt x="501" y="71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2" name="Freeform 11">
              <a:extLst>
                <a:ext uri="{FF2B5EF4-FFF2-40B4-BE49-F238E27FC236}">
                  <a16:creationId xmlns:a16="http://schemas.microsoft.com/office/drawing/2014/main" id="{737F632B-732C-FF91-16E2-E0EE64EBF18A}"/>
                </a:ext>
              </a:extLst>
            </p:cNvPr>
            <p:cNvSpPr>
              <a:spLocks/>
            </p:cNvSpPr>
            <p:nvPr/>
          </p:nvSpPr>
          <p:spPr bwMode="auto">
            <a:xfrm>
              <a:off x="1298576" y="852488"/>
              <a:ext cx="69850" cy="142875"/>
            </a:xfrm>
            <a:custGeom>
              <a:avLst/>
              <a:gdLst>
                <a:gd name="T0" fmla="*/ 355 w 426"/>
                <a:gd name="T1" fmla="*/ 1 h 870"/>
                <a:gd name="T2" fmla="*/ 355 w 426"/>
                <a:gd name="T3" fmla="*/ 1 h 870"/>
                <a:gd name="T4" fmla="*/ 263 w 426"/>
                <a:gd name="T5" fmla="*/ 7 h 870"/>
                <a:gd name="T6" fmla="*/ 125 w 426"/>
                <a:gd name="T7" fmla="*/ 54 h 870"/>
                <a:gd name="T8" fmla="*/ 21 w 426"/>
                <a:gd name="T9" fmla="*/ 182 h 870"/>
                <a:gd name="T10" fmla="*/ 0 w 426"/>
                <a:gd name="T11" fmla="*/ 306 h 870"/>
                <a:gd name="T12" fmla="*/ 0 w 426"/>
                <a:gd name="T13" fmla="*/ 870 h 870"/>
                <a:gd name="T14" fmla="*/ 160 w 426"/>
                <a:gd name="T15" fmla="*/ 870 h 870"/>
                <a:gd name="T16" fmla="*/ 160 w 426"/>
                <a:gd name="T17" fmla="*/ 314 h 870"/>
                <a:gd name="T18" fmla="*/ 354 w 426"/>
                <a:gd name="T19" fmla="*/ 151 h 870"/>
                <a:gd name="T20" fmla="*/ 426 w 426"/>
                <a:gd name="T21" fmla="*/ 153 h 870"/>
                <a:gd name="T22" fmla="*/ 426 w 426"/>
                <a:gd name="T23" fmla="*/ 2 h 870"/>
                <a:gd name="T24" fmla="*/ 355 w 426"/>
                <a:gd name="T25" fmla="*/ 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870">
                  <a:moveTo>
                    <a:pt x="355" y="1"/>
                  </a:moveTo>
                  <a:lnTo>
                    <a:pt x="355" y="1"/>
                  </a:lnTo>
                  <a:cubicBezTo>
                    <a:pt x="323" y="1"/>
                    <a:pt x="293" y="3"/>
                    <a:pt x="263" y="7"/>
                  </a:cubicBezTo>
                  <a:cubicBezTo>
                    <a:pt x="203" y="15"/>
                    <a:pt x="158" y="31"/>
                    <a:pt x="125" y="54"/>
                  </a:cubicBezTo>
                  <a:cubicBezTo>
                    <a:pt x="76" y="85"/>
                    <a:pt x="40" y="128"/>
                    <a:pt x="21" y="182"/>
                  </a:cubicBezTo>
                  <a:cubicBezTo>
                    <a:pt x="7" y="218"/>
                    <a:pt x="0" y="260"/>
                    <a:pt x="0" y="306"/>
                  </a:cubicBezTo>
                  <a:lnTo>
                    <a:pt x="0" y="870"/>
                  </a:lnTo>
                  <a:lnTo>
                    <a:pt x="160" y="870"/>
                  </a:lnTo>
                  <a:lnTo>
                    <a:pt x="160" y="314"/>
                  </a:lnTo>
                  <a:cubicBezTo>
                    <a:pt x="160" y="196"/>
                    <a:pt x="215" y="151"/>
                    <a:pt x="354" y="151"/>
                  </a:cubicBezTo>
                  <a:cubicBezTo>
                    <a:pt x="354" y="151"/>
                    <a:pt x="393" y="149"/>
                    <a:pt x="426" y="153"/>
                  </a:cubicBezTo>
                  <a:lnTo>
                    <a:pt x="426" y="2"/>
                  </a:lnTo>
                  <a:cubicBezTo>
                    <a:pt x="401" y="0"/>
                    <a:pt x="355" y="1"/>
                    <a:pt x="355" y="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3" name="Freeform 12">
              <a:extLst>
                <a:ext uri="{FF2B5EF4-FFF2-40B4-BE49-F238E27FC236}">
                  <a16:creationId xmlns:a16="http://schemas.microsoft.com/office/drawing/2014/main" id="{2417F9BA-9727-043C-D9E6-169DC3D8F639}"/>
                </a:ext>
              </a:extLst>
            </p:cNvPr>
            <p:cNvSpPr>
              <a:spLocks noEditPoints="1"/>
            </p:cNvSpPr>
            <p:nvPr/>
          </p:nvSpPr>
          <p:spPr bwMode="auto">
            <a:xfrm>
              <a:off x="1157288" y="811213"/>
              <a:ext cx="112713" cy="185738"/>
            </a:xfrm>
            <a:custGeom>
              <a:avLst/>
              <a:gdLst>
                <a:gd name="T0" fmla="*/ 499 w 686"/>
                <a:gd name="T1" fmla="*/ 440 h 1129"/>
                <a:gd name="T2" fmla="*/ 499 w 686"/>
                <a:gd name="T3" fmla="*/ 440 h 1129"/>
                <a:gd name="T4" fmla="*/ 514 w 686"/>
                <a:gd name="T5" fmla="*/ 462 h 1129"/>
                <a:gd name="T6" fmla="*/ 532 w 686"/>
                <a:gd name="T7" fmla="*/ 551 h 1129"/>
                <a:gd name="T8" fmla="*/ 532 w 686"/>
                <a:gd name="T9" fmla="*/ 826 h 1129"/>
                <a:gd name="T10" fmla="*/ 343 w 686"/>
                <a:gd name="T11" fmla="*/ 984 h 1129"/>
                <a:gd name="T12" fmla="*/ 155 w 686"/>
                <a:gd name="T13" fmla="*/ 826 h 1129"/>
                <a:gd name="T14" fmla="*/ 155 w 686"/>
                <a:gd name="T15" fmla="*/ 551 h 1129"/>
                <a:gd name="T16" fmla="*/ 186 w 686"/>
                <a:gd name="T17" fmla="*/ 440 h 1129"/>
                <a:gd name="T18" fmla="*/ 499 w 686"/>
                <a:gd name="T19" fmla="*/ 440 h 1129"/>
                <a:gd name="T20" fmla="*/ 499 w 686"/>
                <a:gd name="T21" fmla="*/ 440 h 1129"/>
                <a:gd name="T22" fmla="*/ 514 w 686"/>
                <a:gd name="T23" fmla="*/ 0 h 1129"/>
                <a:gd name="T24" fmla="*/ 514 w 686"/>
                <a:gd name="T25" fmla="*/ 0 h 1129"/>
                <a:gd name="T26" fmla="*/ 514 w 686"/>
                <a:gd name="T27" fmla="*/ 274 h 1129"/>
                <a:gd name="T28" fmla="*/ 342 w 686"/>
                <a:gd name="T29" fmla="*/ 248 h 1129"/>
                <a:gd name="T30" fmla="*/ 0 w 686"/>
                <a:gd name="T31" fmla="*/ 543 h 1129"/>
                <a:gd name="T32" fmla="*/ 0 w 686"/>
                <a:gd name="T33" fmla="*/ 855 h 1129"/>
                <a:gd name="T34" fmla="*/ 74 w 686"/>
                <a:gd name="T35" fmla="*/ 1040 h 1129"/>
                <a:gd name="T36" fmla="*/ 353 w 686"/>
                <a:gd name="T37" fmla="*/ 1129 h 1129"/>
                <a:gd name="T38" fmla="*/ 686 w 686"/>
                <a:gd name="T39" fmla="*/ 835 h 1129"/>
                <a:gd name="T40" fmla="*/ 686 w 686"/>
                <a:gd name="T41" fmla="*/ 0 h 1129"/>
                <a:gd name="T42" fmla="*/ 514 w 686"/>
                <a:gd name="T4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1129">
                  <a:moveTo>
                    <a:pt x="499" y="440"/>
                  </a:moveTo>
                  <a:lnTo>
                    <a:pt x="499" y="440"/>
                  </a:lnTo>
                  <a:cubicBezTo>
                    <a:pt x="505" y="447"/>
                    <a:pt x="510" y="454"/>
                    <a:pt x="514" y="462"/>
                  </a:cubicBezTo>
                  <a:cubicBezTo>
                    <a:pt x="526" y="485"/>
                    <a:pt x="532" y="514"/>
                    <a:pt x="532" y="551"/>
                  </a:cubicBezTo>
                  <a:lnTo>
                    <a:pt x="532" y="826"/>
                  </a:lnTo>
                  <a:cubicBezTo>
                    <a:pt x="532" y="939"/>
                    <a:pt x="480" y="984"/>
                    <a:pt x="343" y="984"/>
                  </a:cubicBezTo>
                  <a:cubicBezTo>
                    <a:pt x="206" y="984"/>
                    <a:pt x="159" y="937"/>
                    <a:pt x="155" y="826"/>
                  </a:cubicBezTo>
                  <a:cubicBezTo>
                    <a:pt x="150" y="704"/>
                    <a:pt x="152" y="605"/>
                    <a:pt x="155" y="551"/>
                  </a:cubicBezTo>
                  <a:cubicBezTo>
                    <a:pt x="157" y="502"/>
                    <a:pt x="164" y="466"/>
                    <a:pt x="186" y="440"/>
                  </a:cubicBezTo>
                  <a:cubicBezTo>
                    <a:pt x="236" y="381"/>
                    <a:pt x="430" y="371"/>
                    <a:pt x="499" y="440"/>
                  </a:cubicBezTo>
                  <a:lnTo>
                    <a:pt x="499" y="440"/>
                  </a:lnTo>
                  <a:close/>
                  <a:moveTo>
                    <a:pt x="514" y="0"/>
                  </a:moveTo>
                  <a:lnTo>
                    <a:pt x="514" y="0"/>
                  </a:lnTo>
                  <a:lnTo>
                    <a:pt x="514" y="274"/>
                  </a:lnTo>
                  <a:cubicBezTo>
                    <a:pt x="463" y="254"/>
                    <a:pt x="406" y="248"/>
                    <a:pt x="342" y="248"/>
                  </a:cubicBezTo>
                  <a:cubicBezTo>
                    <a:pt x="214" y="248"/>
                    <a:pt x="0" y="286"/>
                    <a:pt x="0" y="543"/>
                  </a:cubicBezTo>
                  <a:cubicBezTo>
                    <a:pt x="0" y="543"/>
                    <a:pt x="0" y="852"/>
                    <a:pt x="0" y="855"/>
                  </a:cubicBezTo>
                  <a:cubicBezTo>
                    <a:pt x="0" y="926"/>
                    <a:pt x="31" y="997"/>
                    <a:pt x="74" y="1040"/>
                  </a:cubicBezTo>
                  <a:cubicBezTo>
                    <a:pt x="122" y="1088"/>
                    <a:pt x="192" y="1129"/>
                    <a:pt x="353" y="1129"/>
                  </a:cubicBezTo>
                  <a:cubicBezTo>
                    <a:pt x="515" y="1129"/>
                    <a:pt x="686" y="1060"/>
                    <a:pt x="686" y="835"/>
                  </a:cubicBezTo>
                  <a:cubicBezTo>
                    <a:pt x="686" y="829"/>
                    <a:pt x="686" y="0"/>
                    <a:pt x="686" y="0"/>
                  </a:cubicBezTo>
                  <a:lnTo>
                    <a:pt x="5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4" name="Freeform 13">
              <a:extLst>
                <a:ext uri="{FF2B5EF4-FFF2-40B4-BE49-F238E27FC236}">
                  <a16:creationId xmlns:a16="http://schemas.microsoft.com/office/drawing/2014/main" id="{08732C3D-2FC5-036F-AECF-D45075139FF4}"/>
                </a:ext>
              </a:extLst>
            </p:cNvPr>
            <p:cNvSpPr>
              <a:spLocks noEditPoints="1"/>
            </p:cNvSpPr>
            <p:nvPr/>
          </p:nvSpPr>
          <p:spPr bwMode="auto">
            <a:xfrm>
              <a:off x="830263" y="811213"/>
              <a:ext cx="234950" cy="184150"/>
            </a:xfrm>
            <a:custGeom>
              <a:avLst/>
              <a:gdLst>
                <a:gd name="T0" fmla="*/ 512 w 1431"/>
                <a:gd name="T1" fmla="*/ 483 h 1118"/>
                <a:gd name="T2" fmla="*/ 512 w 1431"/>
                <a:gd name="T3" fmla="*/ 483 h 1118"/>
                <a:gd name="T4" fmla="*/ 594 w 1431"/>
                <a:gd name="T5" fmla="*/ 321 h 1118"/>
                <a:gd name="T6" fmla="*/ 796 w 1431"/>
                <a:gd name="T7" fmla="*/ 152 h 1118"/>
                <a:gd name="T8" fmla="*/ 842 w 1431"/>
                <a:gd name="T9" fmla="*/ 152 h 1118"/>
                <a:gd name="T10" fmla="*/ 842 w 1431"/>
                <a:gd name="T11" fmla="*/ 483 h 1118"/>
                <a:gd name="T12" fmla="*/ 512 w 1431"/>
                <a:gd name="T13" fmla="*/ 483 h 1118"/>
                <a:gd name="T14" fmla="*/ 512 w 1431"/>
                <a:gd name="T15" fmla="*/ 483 h 1118"/>
                <a:gd name="T16" fmla="*/ 1189 w 1431"/>
                <a:gd name="T17" fmla="*/ 964 h 1118"/>
                <a:gd name="T18" fmla="*/ 1189 w 1431"/>
                <a:gd name="T19" fmla="*/ 964 h 1118"/>
                <a:gd name="T20" fmla="*/ 1017 w 1431"/>
                <a:gd name="T21" fmla="*/ 829 h 1118"/>
                <a:gd name="T22" fmla="*/ 1017 w 1431"/>
                <a:gd name="T23" fmla="*/ 631 h 1118"/>
                <a:gd name="T24" fmla="*/ 1403 w 1431"/>
                <a:gd name="T25" fmla="*/ 631 h 1118"/>
                <a:gd name="T26" fmla="*/ 1403 w 1431"/>
                <a:gd name="T27" fmla="*/ 483 h 1118"/>
                <a:gd name="T28" fmla="*/ 1017 w 1431"/>
                <a:gd name="T29" fmla="*/ 483 h 1118"/>
                <a:gd name="T30" fmla="*/ 1017 w 1431"/>
                <a:gd name="T31" fmla="*/ 151 h 1118"/>
                <a:gd name="T32" fmla="*/ 1403 w 1431"/>
                <a:gd name="T33" fmla="*/ 151 h 1118"/>
                <a:gd name="T34" fmla="*/ 1403 w 1431"/>
                <a:gd name="T35" fmla="*/ 0 h 1118"/>
                <a:gd name="T36" fmla="*/ 803 w 1431"/>
                <a:gd name="T37" fmla="*/ 0 h 1118"/>
                <a:gd name="T38" fmla="*/ 443 w 1431"/>
                <a:gd name="T39" fmla="*/ 263 h 1118"/>
                <a:gd name="T40" fmla="*/ 0 w 1431"/>
                <a:gd name="T41" fmla="*/ 1118 h 1118"/>
                <a:gd name="T42" fmla="*/ 192 w 1431"/>
                <a:gd name="T43" fmla="*/ 1118 h 1118"/>
                <a:gd name="T44" fmla="*/ 440 w 1431"/>
                <a:gd name="T45" fmla="*/ 625 h 1118"/>
                <a:gd name="T46" fmla="*/ 842 w 1431"/>
                <a:gd name="T47" fmla="*/ 625 h 1118"/>
                <a:gd name="T48" fmla="*/ 842 w 1431"/>
                <a:gd name="T49" fmla="*/ 856 h 1118"/>
                <a:gd name="T50" fmla="*/ 909 w 1431"/>
                <a:gd name="T51" fmla="*/ 1035 h 1118"/>
                <a:gd name="T52" fmla="*/ 1107 w 1431"/>
                <a:gd name="T53" fmla="*/ 1118 h 1118"/>
                <a:gd name="T54" fmla="*/ 1431 w 1431"/>
                <a:gd name="T55" fmla="*/ 1118 h 1118"/>
                <a:gd name="T56" fmla="*/ 1431 w 1431"/>
                <a:gd name="T57" fmla="*/ 964 h 1118"/>
                <a:gd name="T58" fmla="*/ 1189 w 1431"/>
                <a:gd name="T59" fmla="*/ 964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1" h="1118">
                  <a:moveTo>
                    <a:pt x="512" y="483"/>
                  </a:moveTo>
                  <a:lnTo>
                    <a:pt x="512" y="483"/>
                  </a:lnTo>
                  <a:lnTo>
                    <a:pt x="594" y="321"/>
                  </a:lnTo>
                  <a:cubicBezTo>
                    <a:pt x="654" y="201"/>
                    <a:pt x="722" y="152"/>
                    <a:pt x="796" y="152"/>
                  </a:cubicBezTo>
                  <a:lnTo>
                    <a:pt x="842" y="152"/>
                  </a:lnTo>
                  <a:lnTo>
                    <a:pt x="842" y="483"/>
                  </a:lnTo>
                  <a:lnTo>
                    <a:pt x="512" y="483"/>
                  </a:lnTo>
                  <a:lnTo>
                    <a:pt x="512" y="483"/>
                  </a:lnTo>
                  <a:close/>
                  <a:moveTo>
                    <a:pt x="1189" y="964"/>
                  </a:moveTo>
                  <a:lnTo>
                    <a:pt x="1189" y="964"/>
                  </a:lnTo>
                  <a:cubicBezTo>
                    <a:pt x="1065" y="960"/>
                    <a:pt x="1022" y="922"/>
                    <a:pt x="1017" y="829"/>
                  </a:cubicBezTo>
                  <a:lnTo>
                    <a:pt x="1017" y="631"/>
                  </a:lnTo>
                  <a:lnTo>
                    <a:pt x="1403" y="631"/>
                  </a:lnTo>
                  <a:lnTo>
                    <a:pt x="1403" y="483"/>
                  </a:lnTo>
                  <a:lnTo>
                    <a:pt x="1017" y="483"/>
                  </a:lnTo>
                  <a:lnTo>
                    <a:pt x="1017" y="151"/>
                  </a:lnTo>
                  <a:lnTo>
                    <a:pt x="1403" y="151"/>
                  </a:lnTo>
                  <a:lnTo>
                    <a:pt x="1403" y="0"/>
                  </a:lnTo>
                  <a:lnTo>
                    <a:pt x="803" y="0"/>
                  </a:lnTo>
                  <a:cubicBezTo>
                    <a:pt x="628" y="3"/>
                    <a:pt x="544" y="68"/>
                    <a:pt x="443" y="263"/>
                  </a:cubicBezTo>
                  <a:lnTo>
                    <a:pt x="0" y="1118"/>
                  </a:lnTo>
                  <a:lnTo>
                    <a:pt x="192" y="1118"/>
                  </a:lnTo>
                  <a:lnTo>
                    <a:pt x="440" y="625"/>
                  </a:lnTo>
                  <a:lnTo>
                    <a:pt x="842" y="625"/>
                  </a:lnTo>
                  <a:lnTo>
                    <a:pt x="842" y="856"/>
                  </a:lnTo>
                  <a:cubicBezTo>
                    <a:pt x="842" y="927"/>
                    <a:pt x="866" y="992"/>
                    <a:pt x="909" y="1035"/>
                  </a:cubicBezTo>
                  <a:cubicBezTo>
                    <a:pt x="957" y="1084"/>
                    <a:pt x="1036" y="1118"/>
                    <a:pt x="1107" y="1118"/>
                  </a:cubicBezTo>
                  <a:lnTo>
                    <a:pt x="1431" y="1118"/>
                  </a:lnTo>
                  <a:lnTo>
                    <a:pt x="1431" y="964"/>
                  </a:lnTo>
                  <a:lnTo>
                    <a:pt x="1189" y="9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4" name="Kombinationstegning: figur 3">
              <a:extLst>
                <a:ext uri="{FF2B5EF4-FFF2-40B4-BE49-F238E27FC236}">
                  <a16:creationId xmlns:a16="http://schemas.microsoft.com/office/drawing/2014/main" id="{EDA21FB8-B8DA-D785-B529-17EF036F3C69}"/>
                </a:ext>
              </a:extLst>
            </p:cNvPr>
            <p:cNvSpPr>
              <a:spLocks/>
            </p:cNvSpPr>
            <p:nvPr/>
          </p:nvSpPr>
          <p:spPr bwMode="auto">
            <a:xfrm>
              <a:off x="1536701" y="777875"/>
              <a:ext cx="252413" cy="252413"/>
            </a:xfrm>
            <a:custGeom>
              <a:avLst/>
              <a:gdLst>
                <a:gd name="connsiteX0" fmla="*/ 129802 w 252413"/>
                <a:gd name="connsiteY0" fmla="*/ 32470 h 252413"/>
                <a:gd name="connsiteX1" fmla="*/ 127677 w 252413"/>
                <a:gd name="connsiteY1" fmla="*/ 32800 h 252413"/>
                <a:gd name="connsiteX2" fmla="*/ 125389 w 252413"/>
                <a:gd name="connsiteY2" fmla="*/ 32965 h 252413"/>
                <a:gd name="connsiteX3" fmla="*/ 124409 w 252413"/>
                <a:gd name="connsiteY3" fmla="*/ 33129 h 252413"/>
                <a:gd name="connsiteX4" fmla="*/ 121467 w 252413"/>
                <a:gd name="connsiteY4" fmla="*/ 33624 h 252413"/>
                <a:gd name="connsiteX5" fmla="*/ 117055 w 252413"/>
                <a:gd name="connsiteY5" fmla="*/ 34777 h 252413"/>
                <a:gd name="connsiteX6" fmla="*/ 115421 w 252413"/>
                <a:gd name="connsiteY6" fmla="*/ 35272 h 252413"/>
                <a:gd name="connsiteX7" fmla="*/ 114440 w 252413"/>
                <a:gd name="connsiteY7" fmla="*/ 36590 h 252413"/>
                <a:gd name="connsiteX8" fmla="*/ 116075 w 252413"/>
                <a:gd name="connsiteY8" fmla="*/ 38238 h 252413"/>
                <a:gd name="connsiteX9" fmla="*/ 117382 w 252413"/>
                <a:gd name="connsiteY9" fmla="*/ 38403 h 252413"/>
                <a:gd name="connsiteX10" fmla="*/ 125389 w 252413"/>
                <a:gd name="connsiteY10" fmla="*/ 40051 h 252413"/>
                <a:gd name="connsiteX11" fmla="*/ 127677 w 252413"/>
                <a:gd name="connsiteY11" fmla="*/ 40545 h 252413"/>
                <a:gd name="connsiteX12" fmla="*/ 154315 w 252413"/>
                <a:gd name="connsiteY12" fmla="*/ 52080 h 252413"/>
                <a:gd name="connsiteX13" fmla="*/ 180625 w 252413"/>
                <a:gd name="connsiteY13" fmla="*/ 122447 h 252413"/>
                <a:gd name="connsiteX14" fmla="*/ 148268 w 252413"/>
                <a:gd name="connsiteY14" fmla="*/ 154087 h 252413"/>
                <a:gd name="connsiteX15" fmla="*/ 120814 w 252413"/>
                <a:gd name="connsiteY15" fmla="*/ 134147 h 252413"/>
                <a:gd name="connsiteX16" fmla="*/ 121141 w 252413"/>
                <a:gd name="connsiteY16" fmla="*/ 133323 h 252413"/>
                <a:gd name="connsiteX17" fmla="*/ 121304 w 252413"/>
                <a:gd name="connsiteY17" fmla="*/ 133158 h 252413"/>
                <a:gd name="connsiteX18" fmla="*/ 121467 w 252413"/>
                <a:gd name="connsiteY18" fmla="*/ 132993 h 252413"/>
                <a:gd name="connsiteX19" fmla="*/ 122121 w 252413"/>
                <a:gd name="connsiteY19" fmla="*/ 133488 h 252413"/>
                <a:gd name="connsiteX20" fmla="*/ 123102 w 252413"/>
                <a:gd name="connsiteY20" fmla="*/ 136784 h 252413"/>
                <a:gd name="connsiteX21" fmla="*/ 136992 w 252413"/>
                <a:gd name="connsiteY21" fmla="*/ 144364 h 252413"/>
                <a:gd name="connsiteX22" fmla="*/ 139280 w 252413"/>
                <a:gd name="connsiteY22" fmla="*/ 144035 h 252413"/>
                <a:gd name="connsiteX23" fmla="*/ 152517 w 252413"/>
                <a:gd name="connsiteY23" fmla="*/ 71691 h 252413"/>
                <a:gd name="connsiteX24" fmla="*/ 37306 w 252413"/>
                <a:gd name="connsiteY24" fmla="*/ 107945 h 252413"/>
                <a:gd name="connsiteX25" fmla="*/ 42863 w 252413"/>
                <a:gd name="connsiteY25" fmla="*/ 170731 h 252413"/>
                <a:gd name="connsiteX26" fmla="*/ 121631 w 252413"/>
                <a:gd name="connsiteY26" fmla="*/ 218356 h 252413"/>
                <a:gd name="connsiteX27" fmla="*/ 124736 w 252413"/>
                <a:gd name="connsiteY27" fmla="*/ 218191 h 252413"/>
                <a:gd name="connsiteX28" fmla="*/ 127024 w 252413"/>
                <a:gd name="connsiteY28" fmla="*/ 217862 h 252413"/>
                <a:gd name="connsiteX29" fmla="*/ 131109 w 252413"/>
                <a:gd name="connsiteY29" fmla="*/ 217202 h 252413"/>
                <a:gd name="connsiteX30" fmla="*/ 135521 w 252413"/>
                <a:gd name="connsiteY30" fmla="*/ 216049 h 252413"/>
                <a:gd name="connsiteX31" fmla="*/ 136992 w 252413"/>
                <a:gd name="connsiteY31" fmla="*/ 215554 h 252413"/>
                <a:gd name="connsiteX32" fmla="*/ 137973 w 252413"/>
                <a:gd name="connsiteY32" fmla="*/ 214236 h 252413"/>
                <a:gd name="connsiteX33" fmla="*/ 136339 w 252413"/>
                <a:gd name="connsiteY33" fmla="*/ 212753 h 252413"/>
                <a:gd name="connsiteX34" fmla="*/ 135031 w 252413"/>
                <a:gd name="connsiteY34" fmla="*/ 212423 h 252413"/>
                <a:gd name="connsiteX35" fmla="*/ 127187 w 252413"/>
                <a:gd name="connsiteY35" fmla="*/ 210775 h 252413"/>
                <a:gd name="connsiteX36" fmla="*/ 124899 w 252413"/>
                <a:gd name="connsiteY36" fmla="*/ 210281 h 252413"/>
                <a:gd name="connsiteX37" fmla="*/ 98098 w 252413"/>
                <a:gd name="connsiteY37" fmla="*/ 198746 h 252413"/>
                <a:gd name="connsiteX38" fmla="*/ 71788 w 252413"/>
                <a:gd name="connsiteY38" fmla="*/ 128379 h 252413"/>
                <a:gd name="connsiteX39" fmla="*/ 104145 w 252413"/>
                <a:gd name="connsiteY39" fmla="*/ 96739 h 252413"/>
                <a:gd name="connsiteX40" fmla="*/ 131763 w 252413"/>
                <a:gd name="connsiteY40" fmla="*/ 116844 h 252413"/>
                <a:gd name="connsiteX41" fmla="*/ 131109 w 252413"/>
                <a:gd name="connsiteY41" fmla="*/ 117833 h 252413"/>
                <a:gd name="connsiteX42" fmla="*/ 130455 w 252413"/>
                <a:gd name="connsiteY42" fmla="*/ 117338 h 252413"/>
                <a:gd name="connsiteX43" fmla="*/ 129312 w 252413"/>
                <a:gd name="connsiteY43" fmla="*/ 114042 h 252413"/>
                <a:gd name="connsiteX44" fmla="*/ 115584 w 252413"/>
                <a:gd name="connsiteY44" fmla="*/ 106627 h 252413"/>
                <a:gd name="connsiteX45" fmla="*/ 113133 w 252413"/>
                <a:gd name="connsiteY45" fmla="*/ 106791 h 252413"/>
                <a:gd name="connsiteX46" fmla="*/ 99896 w 252413"/>
                <a:gd name="connsiteY46" fmla="*/ 179135 h 252413"/>
                <a:gd name="connsiteX47" fmla="*/ 215270 w 252413"/>
                <a:gd name="connsiteY47" fmla="*/ 142881 h 252413"/>
                <a:gd name="connsiteX48" fmla="*/ 209551 w 252413"/>
                <a:gd name="connsiteY48" fmla="*/ 80095 h 252413"/>
                <a:gd name="connsiteX49" fmla="*/ 130782 w 252413"/>
                <a:gd name="connsiteY49" fmla="*/ 32470 h 252413"/>
                <a:gd name="connsiteX50" fmla="*/ 129802 w 252413"/>
                <a:gd name="connsiteY50" fmla="*/ 32470 h 252413"/>
                <a:gd name="connsiteX51" fmla="*/ 126125 w 252413"/>
                <a:gd name="connsiteY51" fmla="*/ 0 h 252413"/>
                <a:gd name="connsiteX52" fmla="*/ 252413 w 252413"/>
                <a:gd name="connsiteY52" fmla="*/ 126207 h 252413"/>
                <a:gd name="connsiteX53" fmla="*/ 126125 w 252413"/>
                <a:gd name="connsiteY53" fmla="*/ 252413 h 252413"/>
                <a:gd name="connsiteX54" fmla="*/ 0 w 252413"/>
                <a:gd name="connsiteY54" fmla="*/ 126207 h 252413"/>
                <a:gd name="connsiteX55" fmla="*/ 126125 w 252413"/>
                <a:gd name="connsiteY55" fmla="*/ 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2413" h="252413">
                  <a:moveTo>
                    <a:pt x="129802" y="32470"/>
                  </a:moveTo>
                  <a:cubicBezTo>
                    <a:pt x="129148" y="32635"/>
                    <a:pt x="128331" y="32635"/>
                    <a:pt x="127677" y="32800"/>
                  </a:cubicBezTo>
                  <a:cubicBezTo>
                    <a:pt x="126860" y="32800"/>
                    <a:pt x="126207" y="32965"/>
                    <a:pt x="125389" y="32965"/>
                  </a:cubicBezTo>
                  <a:cubicBezTo>
                    <a:pt x="125063" y="33129"/>
                    <a:pt x="124736" y="33129"/>
                    <a:pt x="124409" y="33129"/>
                  </a:cubicBezTo>
                  <a:cubicBezTo>
                    <a:pt x="123428" y="33294"/>
                    <a:pt x="122448" y="33459"/>
                    <a:pt x="121467" y="33624"/>
                  </a:cubicBezTo>
                  <a:cubicBezTo>
                    <a:pt x="121304" y="33788"/>
                    <a:pt x="117382" y="34612"/>
                    <a:pt x="117055" y="34777"/>
                  </a:cubicBezTo>
                  <a:cubicBezTo>
                    <a:pt x="116728" y="34777"/>
                    <a:pt x="115584" y="35107"/>
                    <a:pt x="115421" y="35272"/>
                  </a:cubicBezTo>
                  <a:cubicBezTo>
                    <a:pt x="114931" y="35601"/>
                    <a:pt x="114440" y="36096"/>
                    <a:pt x="114440" y="36590"/>
                  </a:cubicBezTo>
                  <a:cubicBezTo>
                    <a:pt x="114440" y="37414"/>
                    <a:pt x="115094" y="37908"/>
                    <a:pt x="116075" y="38238"/>
                  </a:cubicBezTo>
                  <a:cubicBezTo>
                    <a:pt x="116075" y="38238"/>
                    <a:pt x="117055" y="38403"/>
                    <a:pt x="117382" y="38403"/>
                  </a:cubicBezTo>
                  <a:cubicBezTo>
                    <a:pt x="119180" y="38897"/>
                    <a:pt x="122775" y="39556"/>
                    <a:pt x="125389" y="40051"/>
                  </a:cubicBezTo>
                  <a:cubicBezTo>
                    <a:pt x="126207" y="40215"/>
                    <a:pt x="127024" y="40545"/>
                    <a:pt x="127677" y="40545"/>
                  </a:cubicBezTo>
                  <a:cubicBezTo>
                    <a:pt x="137156" y="42687"/>
                    <a:pt x="146307" y="46313"/>
                    <a:pt x="154315" y="52080"/>
                  </a:cubicBezTo>
                  <a:cubicBezTo>
                    <a:pt x="176213" y="67736"/>
                    <a:pt x="189287" y="94762"/>
                    <a:pt x="180625" y="122447"/>
                  </a:cubicBezTo>
                  <a:cubicBezTo>
                    <a:pt x="174579" y="142057"/>
                    <a:pt x="161015" y="151780"/>
                    <a:pt x="148268" y="154087"/>
                  </a:cubicBezTo>
                  <a:cubicBezTo>
                    <a:pt x="131926" y="157383"/>
                    <a:pt x="117055" y="148649"/>
                    <a:pt x="120814" y="134147"/>
                  </a:cubicBezTo>
                  <a:cubicBezTo>
                    <a:pt x="120814" y="133817"/>
                    <a:pt x="120977" y="133488"/>
                    <a:pt x="121141" y="133323"/>
                  </a:cubicBezTo>
                  <a:cubicBezTo>
                    <a:pt x="121141" y="133323"/>
                    <a:pt x="121141" y="133158"/>
                    <a:pt x="121304" y="133158"/>
                  </a:cubicBezTo>
                  <a:cubicBezTo>
                    <a:pt x="121304" y="132993"/>
                    <a:pt x="121467" y="132993"/>
                    <a:pt x="121467" y="132993"/>
                  </a:cubicBezTo>
                  <a:cubicBezTo>
                    <a:pt x="121794" y="132993"/>
                    <a:pt x="121958" y="133158"/>
                    <a:pt x="122121" y="133488"/>
                  </a:cubicBezTo>
                  <a:cubicBezTo>
                    <a:pt x="122121" y="133488"/>
                    <a:pt x="122611" y="135465"/>
                    <a:pt x="123102" y="136784"/>
                  </a:cubicBezTo>
                  <a:cubicBezTo>
                    <a:pt x="125880" y="142222"/>
                    <a:pt x="131273" y="144364"/>
                    <a:pt x="136992" y="144364"/>
                  </a:cubicBezTo>
                  <a:cubicBezTo>
                    <a:pt x="137809" y="144199"/>
                    <a:pt x="138463" y="144199"/>
                    <a:pt x="139280" y="144035"/>
                  </a:cubicBezTo>
                  <a:cubicBezTo>
                    <a:pt x="173435" y="139750"/>
                    <a:pt x="175723" y="93114"/>
                    <a:pt x="152517" y="71691"/>
                  </a:cubicBezTo>
                  <a:cubicBezTo>
                    <a:pt x="113460" y="35272"/>
                    <a:pt x="50216" y="56859"/>
                    <a:pt x="37306" y="107945"/>
                  </a:cubicBezTo>
                  <a:cubicBezTo>
                    <a:pt x="31750" y="125907"/>
                    <a:pt x="32567" y="147330"/>
                    <a:pt x="42863" y="170731"/>
                  </a:cubicBezTo>
                  <a:cubicBezTo>
                    <a:pt x="55609" y="199075"/>
                    <a:pt x="88130" y="220663"/>
                    <a:pt x="121631" y="218356"/>
                  </a:cubicBezTo>
                  <a:cubicBezTo>
                    <a:pt x="121958" y="218356"/>
                    <a:pt x="124082" y="218191"/>
                    <a:pt x="124736" y="218191"/>
                  </a:cubicBezTo>
                  <a:cubicBezTo>
                    <a:pt x="125553" y="218026"/>
                    <a:pt x="126370" y="217862"/>
                    <a:pt x="127024" y="217862"/>
                  </a:cubicBezTo>
                  <a:cubicBezTo>
                    <a:pt x="127351" y="217862"/>
                    <a:pt x="129965" y="217367"/>
                    <a:pt x="131109" y="217202"/>
                  </a:cubicBezTo>
                  <a:cubicBezTo>
                    <a:pt x="131109" y="217202"/>
                    <a:pt x="135195" y="216214"/>
                    <a:pt x="135521" y="216049"/>
                  </a:cubicBezTo>
                  <a:cubicBezTo>
                    <a:pt x="135848" y="216049"/>
                    <a:pt x="136829" y="215719"/>
                    <a:pt x="136992" y="215554"/>
                  </a:cubicBezTo>
                  <a:cubicBezTo>
                    <a:pt x="137483" y="215225"/>
                    <a:pt x="137973" y="214895"/>
                    <a:pt x="137973" y="214236"/>
                  </a:cubicBezTo>
                  <a:cubicBezTo>
                    <a:pt x="137973" y="213412"/>
                    <a:pt x="137319" y="212918"/>
                    <a:pt x="136339" y="212753"/>
                  </a:cubicBezTo>
                  <a:cubicBezTo>
                    <a:pt x="136339" y="212753"/>
                    <a:pt x="135521" y="212423"/>
                    <a:pt x="135031" y="212423"/>
                  </a:cubicBezTo>
                  <a:cubicBezTo>
                    <a:pt x="133234" y="212094"/>
                    <a:pt x="129638" y="211270"/>
                    <a:pt x="127187" y="210775"/>
                  </a:cubicBezTo>
                  <a:cubicBezTo>
                    <a:pt x="126207" y="210611"/>
                    <a:pt x="125553" y="210446"/>
                    <a:pt x="124899" y="210281"/>
                  </a:cubicBezTo>
                  <a:cubicBezTo>
                    <a:pt x="115421" y="208139"/>
                    <a:pt x="106269" y="204513"/>
                    <a:pt x="98098" y="198746"/>
                  </a:cubicBezTo>
                  <a:cubicBezTo>
                    <a:pt x="76200" y="183090"/>
                    <a:pt x="63127" y="156064"/>
                    <a:pt x="71788" y="128379"/>
                  </a:cubicBezTo>
                  <a:cubicBezTo>
                    <a:pt x="77998" y="108769"/>
                    <a:pt x="91398" y="99211"/>
                    <a:pt x="104145" y="96739"/>
                  </a:cubicBezTo>
                  <a:cubicBezTo>
                    <a:pt x="120487" y="93608"/>
                    <a:pt x="135521" y="102177"/>
                    <a:pt x="131763" y="116844"/>
                  </a:cubicBezTo>
                  <a:cubicBezTo>
                    <a:pt x="131599" y="117503"/>
                    <a:pt x="131273" y="117833"/>
                    <a:pt x="131109" y="117833"/>
                  </a:cubicBezTo>
                  <a:cubicBezTo>
                    <a:pt x="130782" y="117833"/>
                    <a:pt x="130455" y="117338"/>
                    <a:pt x="130455" y="117338"/>
                  </a:cubicBezTo>
                  <a:cubicBezTo>
                    <a:pt x="130455" y="117338"/>
                    <a:pt x="129965" y="115361"/>
                    <a:pt x="129312" y="114042"/>
                  </a:cubicBezTo>
                  <a:cubicBezTo>
                    <a:pt x="126533" y="108604"/>
                    <a:pt x="121141" y="106462"/>
                    <a:pt x="115584" y="106627"/>
                  </a:cubicBezTo>
                  <a:cubicBezTo>
                    <a:pt x="114767" y="106627"/>
                    <a:pt x="113950" y="106627"/>
                    <a:pt x="113133" y="106791"/>
                  </a:cubicBezTo>
                  <a:cubicBezTo>
                    <a:pt x="78978" y="111076"/>
                    <a:pt x="76854" y="157877"/>
                    <a:pt x="99896" y="179135"/>
                  </a:cubicBezTo>
                  <a:cubicBezTo>
                    <a:pt x="139117" y="215554"/>
                    <a:pt x="202360" y="194131"/>
                    <a:pt x="215270" y="142881"/>
                  </a:cubicBezTo>
                  <a:cubicBezTo>
                    <a:pt x="220663" y="124919"/>
                    <a:pt x="220009" y="103496"/>
                    <a:pt x="209551" y="80095"/>
                  </a:cubicBezTo>
                  <a:cubicBezTo>
                    <a:pt x="196967" y="51916"/>
                    <a:pt x="164447" y="30163"/>
                    <a:pt x="130782" y="32470"/>
                  </a:cubicBezTo>
                  <a:cubicBezTo>
                    <a:pt x="130455" y="32470"/>
                    <a:pt x="130129" y="32470"/>
                    <a:pt x="129802" y="32470"/>
                  </a:cubicBezTo>
                  <a:close/>
                  <a:moveTo>
                    <a:pt x="126125" y="0"/>
                  </a:moveTo>
                  <a:cubicBezTo>
                    <a:pt x="195829" y="0"/>
                    <a:pt x="252413" y="56457"/>
                    <a:pt x="252413" y="126207"/>
                  </a:cubicBezTo>
                  <a:cubicBezTo>
                    <a:pt x="252413" y="195957"/>
                    <a:pt x="195829" y="252413"/>
                    <a:pt x="126125" y="252413"/>
                  </a:cubicBezTo>
                  <a:cubicBezTo>
                    <a:pt x="56420" y="252413"/>
                    <a:pt x="0" y="195957"/>
                    <a:pt x="0" y="126207"/>
                  </a:cubicBezTo>
                  <a:cubicBezTo>
                    <a:pt x="0" y="56457"/>
                    <a:pt x="56420" y="0"/>
                    <a:pt x="1261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da-DK">
                <a:solidFill>
                  <a:sysClr val="windowText" lastClr="000000"/>
                </a:solidFill>
              </a:endParaRPr>
            </a:p>
          </p:txBody>
        </p:sp>
        <p:sp>
          <p:nvSpPr>
            <p:cNvPr id="17" name="Freeform 16">
              <a:extLst>
                <a:ext uri="{FF2B5EF4-FFF2-40B4-BE49-F238E27FC236}">
                  <a16:creationId xmlns:a16="http://schemas.microsoft.com/office/drawing/2014/main" id="{1F72CB98-5425-B455-0D95-40BA18C4F1EB}"/>
                </a:ext>
              </a:extLst>
            </p:cNvPr>
            <p:cNvSpPr>
              <a:spLocks/>
            </p:cNvSpPr>
            <p:nvPr/>
          </p:nvSpPr>
          <p:spPr bwMode="auto">
            <a:xfrm>
              <a:off x="2382838" y="852488"/>
              <a:ext cx="112713" cy="142875"/>
            </a:xfrm>
            <a:custGeom>
              <a:avLst/>
              <a:gdLst>
                <a:gd name="T0" fmla="*/ 666 w 686"/>
                <a:gd name="T1" fmla="*/ 176 h 871"/>
                <a:gd name="T2" fmla="*/ 666 w 686"/>
                <a:gd name="T3" fmla="*/ 176 h 871"/>
                <a:gd name="T4" fmla="*/ 647 w 686"/>
                <a:gd name="T5" fmla="*/ 136 h 871"/>
                <a:gd name="T6" fmla="*/ 647 w 686"/>
                <a:gd name="T7" fmla="*/ 136 h 871"/>
                <a:gd name="T8" fmla="*/ 346 w 686"/>
                <a:gd name="T9" fmla="*/ 0 h 871"/>
                <a:gd name="T10" fmla="*/ 253 w 686"/>
                <a:gd name="T11" fmla="*/ 7 h 871"/>
                <a:gd name="T12" fmla="*/ 120 w 686"/>
                <a:gd name="T13" fmla="*/ 52 h 871"/>
                <a:gd name="T14" fmla="*/ 37 w 686"/>
                <a:gd name="T15" fmla="*/ 136 h 871"/>
                <a:gd name="T16" fmla="*/ 38 w 686"/>
                <a:gd name="T17" fmla="*/ 136 h 871"/>
                <a:gd name="T18" fmla="*/ 19 w 686"/>
                <a:gd name="T19" fmla="*/ 175 h 871"/>
                <a:gd name="T20" fmla="*/ 0 w 686"/>
                <a:gd name="T21" fmla="*/ 295 h 871"/>
                <a:gd name="T22" fmla="*/ 0 w 686"/>
                <a:gd name="T23" fmla="*/ 871 h 871"/>
                <a:gd name="T24" fmla="*/ 154 w 686"/>
                <a:gd name="T25" fmla="*/ 871 h 871"/>
                <a:gd name="T26" fmla="*/ 154 w 686"/>
                <a:gd name="T27" fmla="*/ 303 h 871"/>
                <a:gd name="T28" fmla="*/ 327 w 686"/>
                <a:gd name="T29" fmla="*/ 145 h 871"/>
                <a:gd name="T30" fmla="*/ 338 w 686"/>
                <a:gd name="T31" fmla="*/ 145 h 871"/>
                <a:gd name="T32" fmla="*/ 498 w 686"/>
                <a:gd name="T33" fmla="*/ 191 h 871"/>
                <a:gd name="T34" fmla="*/ 501 w 686"/>
                <a:gd name="T35" fmla="*/ 194 h 871"/>
                <a:gd name="T36" fmla="*/ 504 w 686"/>
                <a:gd name="T37" fmla="*/ 199 h 871"/>
                <a:gd name="T38" fmla="*/ 530 w 686"/>
                <a:gd name="T39" fmla="*/ 275 h 871"/>
                <a:gd name="T40" fmla="*/ 531 w 686"/>
                <a:gd name="T41" fmla="*/ 303 h 871"/>
                <a:gd name="T42" fmla="*/ 531 w 686"/>
                <a:gd name="T43" fmla="*/ 871 h 871"/>
                <a:gd name="T44" fmla="*/ 686 w 686"/>
                <a:gd name="T45" fmla="*/ 871 h 871"/>
                <a:gd name="T46" fmla="*/ 686 w 686"/>
                <a:gd name="T47" fmla="*/ 295 h 871"/>
                <a:gd name="T48" fmla="*/ 666 w 686"/>
                <a:gd name="T49" fmla="*/ 17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871">
                  <a:moveTo>
                    <a:pt x="666" y="176"/>
                  </a:moveTo>
                  <a:lnTo>
                    <a:pt x="666" y="176"/>
                  </a:lnTo>
                  <a:cubicBezTo>
                    <a:pt x="661" y="162"/>
                    <a:pt x="655" y="148"/>
                    <a:pt x="647" y="136"/>
                  </a:cubicBezTo>
                  <a:lnTo>
                    <a:pt x="647" y="136"/>
                  </a:lnTo>
                  <a:cubicBezTo>
                    <a:pt x="580" y="23"/>
                    <a:pt x="440" y="1"/>
                    <a:pt x="346" y="0"/>
                  </a:cubicBezTo>
                  <a:cubicBezTo>
                    <a:pt x="306" y="0"/>
                    <a:pt x="281" y="3"/>
                    <a:pt x="253" y="7"/>
                  </a:cubicBezTo>
                  <a:cubicBezTo>
                    <a:pt x="195" y="14"/>
                    <a:pt x="151" y="30"/>
                    <a:pt x="120" y="52"/>
                  </a:cubicBezTo>
                  <a:cubicBezTo>
                    <a:pt x="85" y="74"/>
                    <a:pt x="57" y="102"/>
                    <a:pt x="37" y="136"/>
                  </a:cubicBezTo>
                  <a:lnTo>
                    <a:pt x="38" y="136"/>
                  </a:lnTo>
                  <a:cubicBezTo>
                    <a:pt x="30" y="148"/>
                    <a:pt x="24" y="161"/>
                    <a:pt x="19" y="175"/>
                  </a:cubicBezTo>
                  <a:cubicBezTo>
                    <a:pt x="6" y="210"/>
                    <a:pt x="0" y="250"/>
                    <a:pt x="0" y="295"/>
                  </a:cubicBezTo>
                  <a:lnTo>
                    <a:pt x="0" y="871"/>
                  </a:lnTo>
                  <a:lnTo>
                    <a:pt x="154" y="871"/>
                  </a:lnTo>
                  <a:lnTo>
                    <a:pt x="154" y="303"/>
                  </a:lnTo>
                  <a:cubicBezTo>
                    <a:pt x="154" y="196"/>
                    <a:pt x="197" y="151"/>
                    <a:pt x="327" y="145"/>
                  </a:cubicBezTo>
                  <a:cubicBezTo>
                    <a:pt x="332" y="145"/>
                    <a:pt x="339" y="145"/>
                    <a:pt x="338" y="145"/>
                  </a:cubicBezTo>
                  <a:cubicBezTo>
                    <a:pt x="419" y="146"/>
                    <a:pt x="469" y="160"/>
                    <a:pt x="498" y="191"/>
                  </a:cubicBezTo>
                  <a:cubicBezTo>
                    <a:pt x="499" y="192"/>
                    <a:pt x="500" y="193"/>
                    <a:pt x="501" y="194"/>
                  </a:cubicBezTo>
                  <a:cubicBezTo>
                    <a:pt x="502" y="196"/>
                    <a:pt x="503" y="197"/>
                    <a:pt x="504" y="199"/>
                  </a:cubicBezTo>
                  <a:cubicBezTo>
                    <a:pt x="519" y="218"/>
                    <a:pt x="527" y="243"/>
                    <a:pt x="530" y="275"/>
                  </a:cubicBezTo>
                  <a:cubicBezTo>
                    <a:pt x="531" y="284"/>
                    <a:pt x="531" y="293"/>
                    <a:pt x="531" y="303"/>
                  </a:cubicBezTo>
                  <a:lnTo>
                    <a:pt x="531" y="871"/>
                  </a:lnTo>
                  <a:lnTo>
                    <a:pt x="686" y="871"/>
                  </a:lnTo>
                  <a:lnTo>
                    <a:pt x="686" y="295"/>
                  </a:lnTo>
                  <a:cubicBezTo>
                    <a:pt x="686" y="251"/>
                    <a:pt x="679" y="211"/>
                    <a:pt x="666" y="17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grpSp>
        <p:nvGrpSpPr>
          <p:cNvPr id="15" name="Gruppe 14">
            <a:extLst>
              <a:ext uri="{FF2B5EF4-FFF2-40B4-BE49-F238E27FC236}">
                <a16:creationId xmlns:a16="http://schemas.microsoft.com/office/drawing/2014/main" id="{025CBFE0-48EA-8E80-BF7B-3971770D1698}"/>
              </a:ext>
            </a:extLst>
          </p:cNvPr>
          <p:cNvGrpSpPr/>
          <p:nvPr userDrawn="1"/>
        </p:nvGrpSpPr>
        <p:grpSpPr>
          <a:xfrm>
            <a:off x="830263" y="777875"/>
            <a:ext cx="1665288" cy="287338"/>
            <a:chOff x="830263" y="777875"/>
            <a:chExt cx="1665288" cy="287338"/>
          </a:xfrm>
        </p:grpSpPr>
        <p:sp>
          <p:nvSpPr>
            <p:cNvPr id="16" name="Freeform 5">
              <a:extLst>
                <a:ext uri="{FF2B5EF4-FFF2-40B4-BE49-F238E27FC236}">
                  <a16:creationId xmlns:a16="http://schemas.microsoft.com/office/drawing/2014/main" id="{A6B0C2FA-1A38-17D8-096F-76D876B44AF8}"/>
                </a:ext>
              </a:extLst>
            </p:cNvPr>
            <p:cNvSpPr>
              <a:spLocks/>
            </p:cNvSpPr>
            <p:nvPr userDrawn="1"/>
          </p:nvSpPr>
          <p:spPr bwMode="auto">
            <a:xfrm>
              <a:off x="1820863" y="809625"/>
              <a:ext cx="119063" cy="188913"/>
            </a:xfrm>
            <a:custGeom>
              <a:avLst/>
              <a:gdLst>
                <a:gd name="T0" fmla="*/ 195 w 724"/>
                <a:gd name="T1" fmla="*/ 316 h 1151"/>
                <a:gd name="T2" fmla="*/ 195 w 724"/>
                <a:gd name="T3" fmla="*/ 316 h 1151"/>
                <a:gd name="T4" fmla="*/ 420 w 724"/>
                <a:gd name="T5" fmla="*/ 149 h 1151"/>
                <a:gd name="T6" fmla="*/ 622 w 724"/>
                <a:gd name="T7" fmla="*/ 180 h 1151"/>
                <a:gd name="T8" fmla="*/ 632 w 724"/>
                <a:gd name="T9" fmla="*/ 20 h 1151"/>
                <a:gd name="T10" fmla="*/ 430 w 724"/>
                <a:gd name="T11" fmla="*/ 0 h 1151"/>
                <a:gd name="T12" fmla="*/ 9 w 724"/>
                <a:gd name="T13" fmla="*/ 332 h 1151"/>
                <a:gd name="T14" fmla="*/ 522 w 724"/>
                <a:gd name="T15" fmla="*/ 787 h 1151"/>
                <a:gd name="T16" fmla="*/ 286 w 724"/>
                <a:gd name="T17" fmla="*/ 995 h 1151"/>
                <a:gd name="T18" fmla="*/ 47 w 724"/>
                <a:gd name="T19" fmla="*/ 947 h 1151"/>
                <a:gd name="T20" fmla="*/ 44 w 724"/>
                <a:gd name="T21" fmla="*/ 1112 h 1151"/>
                <a:gd name="T22" fmla="*/ 269 w 724"/>
                <a:gd name="T23" fmla="*/ 1151 h 1151"/>
                <a:gd name="T24" fmla="*/ 715 w 724"/>
                <a:gd name="T25" fmla="*/ 767 h 1151"/>
                <a:gd name="T26" fmla="*/ 195 w 724"/>
                <a:gd name="T27" fmla="*/ 31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1151">
                  <a:moveTo>
                    <a:pt x="195" y="316"/>
                  </a:moveTo>
                  <a:lnTo>
                    <a:pt x="195" y="316"/>
                  </a:lnTo>
                  <a:cubicBezTo>
                    <a:pt x="195" y="212"/>
                    <a:pt x="281" y="149"/>
                    <a:pt x="420" y="149"/>
                  </a:cubicBezTo>
                  <a:cubicBezTo>
                    <a:pt x="486" y="149"/>
                    <a:pt x="557" y="160"/>
                    <a:pt x="622" y="180"/>
                  </a:cubicBezTo>
                  <a:lnTo>
                    <a:pt x="632" y="20"/>
                  </a:lnTo>
                  <a:cubicBezTo>
                    <a:pt x="564" y="8"/>
                    <a:pt x="496" y="0"/>
                    <a:pt x="430" y="0"/>
                  </a:cubicBezTo>
                  <a:cubicBezTo>
                    <a:pt x="170" y="0"/>
                    <a:pt x="0" y="140"/>
                    <a:pt x="9" y="332"/>
                  </a:cubicBezTo>
                  <a:cubicBezTo>
                    <a:pt x="25" y="692"/>
                    <a:pt x="494" y="537"/>
                    <a:pt x="522" y="787"/>
                  </a:cubicBezTo>
                  <a:cubicBezTo>
                    <a:pt x="536" y="917"/>
                    <a:pt x="408" y="995"/>
                    <a:pt x="286" y="995"/>
                  </a:cubicBezTo>
                  <a:cubicBezTo>
                    <a:pt x="205" y="995"/>
                    <a:pt x="110" y="970"/>
                    <a:pt x="47" y="947"/>
                  </a:cubicBezTo>
                  <a:lnTo>
                    <a:pt x="44" y="1112"/>
                  </a:lnTo>
                  <a:cubicBezTo>
                    <a:pt x="109" y="1129"/>
                    <a:pt x="188" y="1151"/>
                    <a:pt x="269" y="1151"/>
                  </a:cubicBezTo>
                  <a:cubicBezTo>
                    <a:pt x="536" y="1151"/>
                    <a:pt x="724" y="972"/>
                    <a:pt x="715" y="767"/>
                  </a:cubicBezTo>
                  <a:cubicBezTo>
                    <a:pt x="699" y="418"/>
                    <a:pt x="195" y="539"/>
                    <a:pt x="195" y="3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8" name="Freeform 6">
              <a:extLst>
                <a:ext uri="{FF2B5EF4-FFF2-40B4-BE49-F238E27FC236}">
                  <a16:creationId xmlns:a16="http://schemas.microsoft.com/office/drawing/2014/main" id="{A080A15E-AC92-07AE-ED02-6E28DD0A3989}"/>
                </a:ext>
              </a:extLst>
            </p:cNvPr>
            <p:cNvSpPr>
              <a:spLocks noEditPoints="1"/>
            </p:cNvSpPr>
            <p:nvPr userDrawn="1"/>
          </p:nvSpPr>
          <p:spPr bwMode="auto">
            <a:xfrm>
              <a:off x="2246313" y="852488"/>
              <a:ext cx="112713"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2"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9" name="Freeform 7">
              <a:extLst>
                <a:ext uri="{FF2B5EF4-FFF2-40B4-BE49-F238E27FC236}">
                  <a16:creationId xmlns:a16="http://schemas.microsoft.com/office/drawing/2014/main" id="{935E4AD0-431C-F4BA-3002-044642D5506E}"/>
                </a:ext>
              </a:extLst>
            </p:cNvPr>
            <p:cNvSpPr>
              <a:spLocks noEditPoints="1"/>
            </p:cNvSpPr>
            <p:nvPr userDrawn="1"/>
          </p:nvSpPr>
          <p:spPr bwMode="auto">
            <a:xfrm>
              <a:off x="1387476" y="852488"/>
              <a:ext cx="111125"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1"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0" name="Freeform 8">
              <a:extLst>
                <a:ext uri="{FF2B5EF4-FFF2-40B4-BE49-F238E27FC236}">
                  <a16:creationId xmlns:a16="http://schemas.microsoft.com/office/drawing/2014/main" id="{F5243C7F-5EC7-A4ED-CBA7-6A224592BA8C}"/>
                </a:ext>
              </a:extLst>
            </p:cNvPr>
            <p:cNvSpPr>
              <a:spLocks noEditPoints="1"/>
            </p:cNvSpPr>
            <p:nvPr userDrawn="1"/>
          </p:nvSpPr>
          <p:spPr bwMode="auto">
            <a:xfrm>
              <a:off x="1955801" y="852488"/>
              <a:ext cx="112713" cy="144463"/>
            </a:xfrm>
            <a:custGeom>
              <a:avLst/>
              <a:gdLst>
                <a:gd name="T0" fmla="*/ 532 w 687"/>
                <a:gd name="T1" fmla="*/ 494 h 881"/>
                <a:gd name="T2" fmla="*/ 532 w 687"/>
                <a:gd name="T3" fmla="*/ 494 h 881"/>
                <a:gd name="T4" fmla="*/ 532 w 687"/>
                <a:gd name="T5" fmla="*/ 578 h 881"/>
                <a:gd name="T6" fmla="*/ 332 w 687"/>
                <a:gd name="T7" fmla="*/ 737 h 881"/>
                <a:gd name="T8" fmla="*/ 161 w 687"/>
                <a:gd name="T9" fmla="*/ 663 h 881"/>
                <a:gd name="T10" fmla="*/ 155 w 687"/>
                <a:gd name="T11" fmla="*/ 618 h 881"/>
                <a:gd name="T12" fmla="*/ 321 w 687"/>
                <a:gd name="T13" fmla="*/ 494 h 881"/>
                <a:gd name="T14" fmla="*/ 532 w 687"/>
                <a:gd name="T15" fmla="*/ 494 h 881"/>
                <a:gd name="T16" fmla="*/ 532 w 687"/>
                <a:gd name="T17" fmla="*/ 494 h 881"/>
                <a:gd name="T18" fmla="*/ 140 w 687"/>
                <a:gd name="T19" fmla="*/ 218 h 881"/>
                <a:gd name="T20" fmla="*/ 140 w 687"/>
                <a:gd name="T21" fmla="*/ 218 h 881"/>
                <a:gd name="T22" fmla="*/ 344 w 687"/>
                <a:gd name="T23" fmla="*/ 145 h 881"/>
                <a:gd name="T24" fmla="*/ 532 w 687"/>
                <a:gd name="T25" fmla="*/ 303 h 881"/>
                <a:gd name="T26" fmla="*/ 532 w 687"/>
                <a:gd name="T27" fmla="*/ 356 h 881"/>
                <a:gd name="T28" fmla="*/ 312 w 687"/>
                <a:gd name="T29" fmla="*/ 356 h 881"/>
                <a:gd name="T30" fmla="*/ 0 w 687"/>
                <a:gd name="T31" fmla="*/ 620 h 881"/>
                <a:gd name="T32" fmla="*/ 68 w 687"/>
                <a:gd name="T33" fmla="*/ 798 h 881"/>
                <a:gd name="T34" fmla="*/ 336 w 687"/>
                <a:gd name="T35" fmla="*/ 881 h 881"/>
                <a:gd name="T36" fmla="*/ 433 w 687"/>
                <a:gd name="T37" fmla="*/ 875 h 881"/>
                <a:gd name="T38" fmla="*/ 566 w 687"/>
                <a:gd name="T39" fmla="*/ 829 h 881"/>
                <a:gd name="T40" fmla="*/ 667 w 687"/>
                <a:gd name="T41" fmla="*/ 706 h 881"/>
                <a:gd name="T42" fmla="*/ 687 w 687"/>
                <a:gd name="T43" fmla="*/ 587 h 881"/>
                <a:gd name="T44" fmla="*/ 687 w 687"/>
                <a:gd name="T45" fmla="*/ 295 h 881"/>
                <a:gd name="T46" fmla="*/ 344 w 687"/>
                <a:gd name="T47" fmla="*/ 0 h 881"/>
                <a:gd name="T48" fmla="*/ 31 w 687"/>
                <a:gd name="T49" fmla="*/ 129 h 881"/>
                <a:gd name="T50" fmla="*/ 140 w 687"/>
                <a:gd name="T51" fmla="*/ 218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7" h="881">
                  <a:moveTo>
                    <a:pt x="532" y="494"/>
                  </a:moveTo>
                  <a:lnTo>
                    <a:pt x="532" y="494"/>
                  </a:lnTo>
                  <a:lnTo>
                    <a:pt x="532" y="578"/>
                  </a:lnTo>
                  <a:cubicBezTo>
                    <a:pt x="532" y="692"/>
                    <a:pt x="484" y="737"/>
                    <a:pt x="332" y="737"/>
                  </a:cubicBezTo>
                  <a:cubicBezTo>
                    <a:pt x="181" y="737"/>
                    <a:pt x="167" y="683"/>
                    <a:pt x="161" y="663"/>
                  </a:cubicBezTo>
                  <a:cubicBezTo>
                    <a:pt x="157" y="650"/>
                    <a:pt x="155" y="635"/>
                    <a:pt x="155" y="618"/>
                  </a:cubicBezTo>
                  <a:cubicBezTo>
                    <a:pt x="155" y="509"/>
                    <a:pt x="239" y="494"/>
                    <a:pt x="321" y="494"/>
                  </a:cubicBezTo>
                  <a:lnTo>
                    <a:pt x="532" y="494"/>
                  </a:lnTo>
                  <a:lnTo>
                    <a:pt x="532" y="494"/>
                  </a:lnTo>
                  <a:close/>
                  <a:moveTo>
                    <a:pt x="140" y="218"/>
                  </a:moveTo>
                  <a:lnTo>
                    <a:pt x="140" y="218"/>
                  </a:lnTo>
                  <a:cubicBezTo>
                    <a:pt x="193" y="161"/>
                    <a:pt x="247" y="145"/>
                    <a:pt x="344" y="145"/>
                  </a:cubicBezTo>
                  <a:cubicBezTo>
                    <a:pt x="479" y="145"/>
                    <a:pt x="532" y="189"/>
                    <a:pt x="532" y="303"/>
                  </a:cubicBezTo>
                  <a:lnTo>
                    <a:pt x="532" y="356"/>
                  </a:lnTo>
                  <a:lnTo>
                    <a:pt x="312" y="356"/>
                  </a:lnTo>
                  <a:cubicBezTo>
                    <a:pt x="117" y="356"/>
                    <a:pt x="0" y="454"/>
                    <a:pt x="0" y="620"/>
                  </a:cubicBezTo>
                  <a:cubicBezTo>
                    <a:pt x="0" y="690"/>
                    <a:pt x="25" y="756"/>
                    <a:pt x="68" y="798"/>
                  </a:cubicBezTo>
                  <a:cubicBezTo>
                    <a:pt x="126" y="858"/>
                    <a:pt x="193" y="881"/>
                    <a:pt x="336" y="881"/>
                  </a:cubicBezTo>
                  <a:cubicBezTo>
                    <a:pt x="378" y="881"/>
                    <a:pt x="404" y="879"/>
                    <a:pt x="433" y="875"/>
                  </a:cubicBezTo>
                  <a:cubicBezTo>
                    <a:pt x="491" y="867"/>
                    <a:pt x="535" y="852"/>
                    <a:pt x="566" y="829"/>
                  </a:cubicBezTo>
                  <a:cubicBezTo>
                    <a:pt x="614" y="800"/>
                    <a:pt x="648" y="758"/>
                    <a:pt x="667" y="706"/>
                  </a:cubicBezTo>
                  <a:cubicBezTo>
                    <a:pt x="680" y="671"/>
                    <a:pt x="687" y="631"/>
                    <a:pt x="687" y="587"/>
                  </a:cubicBezTo>
                  <a:lnTo>
                    <a:pt x="687" y="295"/>
                  </a:lnTo>
                  <a:cubicBezTo>
                    <a:pt x="687" y="38"/>
                    <a:pt x="472" y="0"/>
                    <a:pt x="344" y="0"/>
                  </a:cubicBezTo>
                  <a:cubicBezTo>
                    <a:pt x="219" y="0"/>
                    <a:pt x="129" y="17"/>
                    <a:pt x="31" y="129"/>
                  </a:cubicBezTo>
                  <a:lnTo>
                    <a:pt x="140" y="2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1" name="Freeform 9">
              <a:extLst>
                <a:ext uri="{FF2B5EF4-FFF2-40B4-BE49-F238E27FC236}">
                  <a16:creationId xmlns:a16="http://schemas.microsoft.com/office/drawing/2014/main" id="{62F00E4F-FC7F-314A-0E13-7733859C5C09}"/>
                </a:ext>
              </a:extLst>
            </p:cNvPr>
            <p:cNvSpPr>
              <a:spLocks/>
            </p:cNvSpPr>
            <p:nvPr userDrawn="1"/>
          </p:nvSpPr>
          <p:spPr bwMode="auto">
            <a:xfrm>
              <a:off x="1098551" y="811213"/>
              <a:ext cx="28575" cy="184150"/>
            </a:xfrm>
            <a:custGeom>
              <a:avLst/>
              <a:gdLst>
                <a:gd name="T0" fmla="*/ 0 w 177"/>
                <a:gd name="T1" fmla="*/ 0 h 1118"/>
                <a:gd name="T2" fmla="*/ 0 w 177"/>
                <a:gd name="T3" fmla="*/ 0 h 1118"/>
                <a:gd name="T4" fmla="*/ 177 w 177"/>
                <a:gd name="T5" fmla="*/ 0 h 1118"/>
                <a:gd name="T6" fmla="*/ 177 w 177"/>
                <a:gd name="T7" fmla="*/ 1118 h 1118"/>
                <a:gd name="T8" fmla="*/ 0 w 177"/>
                <a:gd name="T9" fmla="*/ 1118 h 1118"/>
                <a:gd name="T10" fmla="*/ 0 w 177"/>
                <a:gd name="T11" fmla="*/ 0 h 1118"/>
              </a:gdLst>
              <a:ahLst/>
              <a:cxnLst>
                <a:cxn ang="0">
                  <a:pos x="T0" y="T1"/>
                </a:cxn>
                <a:cxn ang="0">
                  <a:pos x="T2" y="T3"/>
                </a:cxn>
                <a:cxn ang="0">
                  <a:pos x="T4" y="T5"/>
                </a:cxn>
                <a:cxn ang="0">
                  <a:pos x="T6" y="T7"/>
                </a:cxn>
                <a:cxn ang="0">
                  <a:pos x="T8" y="T9"/>
                </a:cxn>
                <a:cxn ang="0">
                  <a:pos x="T10" y="T11"/>
                </a:cxn>
              </a:cxnLst>
              <a:rect l="0" t="0" r="r" b="b"/>
              <a:pathLst>
                <a:path w="177" h="1118">
                  <a:moveTo>
                    <a:pt x="0" y="0"/>
                  </a:moveTo>
                  <a:lnTo>
                    <a:pt x="0" y="0"/>
                  </a:lnTo>
                  <a:lnTo>
                    <a:pt x="177" y="0"/>
                  </a:lnTo>
                  <a:lnTo>
                    <a:pt x="177" y="1118"/>
                  </a:lnTo>
                  <a:lnTo>
                    <a:pt x="0" y="111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2" name="Freeform 10">
              <a:extLst>
                <a:ext uri="{FF2B5EF4-FFF2-40B4-BE49-F238E27FC236}">
                  <a16:creationId xmlns:a16="http://schemas.microsoft.com/office/drawing/2014/main" id="{B3C32630-1D0D-9299-FDBC-E15A3666BAB1}"/>
                </a:ext>
              </a:extLst>
            </p:cNvPr>
            <p:cNvSpPr>
              <a:spLocks noEditPoints="1"/>
            </p:cNvSpPr>
            <p:nvPr userDrawn="1"/>
          </p:nvSpPr>
          <p:spPr bwMode="auto">
            <a:xfrm>
              <a:off x="2093913" y="852488"/>
              <a:ext cx="133350" cy="212725"/>
            </a:xfrm>
            <a:custGeom>
              <a:avLst/>
              <a:gdLst>
                <a:gd name="T0" fmla="*/ 367 w 816"/>
                <a:gd name="T1" fmla="*/ 133 h 1290"/>
                <a:gd name="T2" fmla="*/ 367 w 816"/>
                <a:gd name="T3" fmla="*/ 133 h 1290"/>
                <a:gd name="T4" fmla="*/ 552 w 816"/>
                <a:gd name="T5" fmla="*/ 310 h 1290"/>
                <a:gd name="T6" fmla="*/ 365 w 816"/>
                <a:gd name="T7" fmla="*/ 483 h 1290"/>
                <a:gd name="T8" fmla="*/ 176 w 816"/>
                <a:gd name="T9" fmla="*/ 309 h 1290"/>
                <a:gd name="T10" fmla="*/ 367 w 816"/>
                <a:gd name="T11" fmla="*/ 133 h 1290"/>
                <a:gd name="T12" fmla="*/ 367 w 816"/>
                <a:gd name="T13" fmla="*/ 133 h 1290"/>
                <a:gd name="T14" fmla="*/ 501 w 816"/>
                <a:gd name="T15" fmla="*/ 714 h 1290"/>
                <a:gd name="T16" fmla="*/ 501 w 816"/>
                <a:gd name="T17" fmla="*/ 714 h 1290"/>
                <a:gd name="T18" fmla="*/ 358 w 816"/>
                <a:gd name="T19" fmla="*/ 725 h 1290"/>
                <a:gd name="T20" fmla="*/ 218 w 816"/>
                <a:gd name="T21" fmla="*/ 663 h 1290"/>
                <a:gd name="T22" fmla="*/ 267 w 816"/>
                <a:gd name="T23" fmla="*/ 601 h 1290"/>
                <a:gd name="T24" fmla="*/ 363 w 816"/>
                <a:gd name="T25" fmla="*/ 609 h 1290"/>
                <a:gd name="T26" fmla="*/ 726 w 816"/>
                <a:gd name="T27" fmla="*/ 299 h 1290"/>
                <a:gd name="T28" fmla="*/ 683 w 816"/>
                <a:gd name="T29" fmla="*/ 148 h 1290"/>
                <a:gd name="T30" fmla="*/ 805 w 816"/>
                <a:gd name="T31" fmla="*/ 147 h 1290"/>
                <a:gd name="T32" fmla="*/ 805 w 816"/>
                <a:gd name="T33" fmla="*/ 1 h 1290"/>
                <a:gd name="T34" fmla="*/ 754 w 816"/>
                <a:gd name="T35" fmla="*/ 0 h 1290"/>
                <a:gd name="T36" fmla="*/ 748 w 816"/>
                <a:gd name="T37" fmla="*/ 0 h 1290"/>
                <a:gd name="T38" fmla="*/ 736 w 816"/>
                <a:gd name="T39" fmla="*/ 0 h 1290"/>
                <a:gd name="T40" fmla="*/ 648 w 816"/>
                <a:gd name="T41" fmla="*/ 6 h 1290"/>
                <a:gd name="T42" fmla="*/ 568 w 816"/>
                <a:gd name="T43" fmla="*/ 39 h 1290"/>
                <a:gd name="T44" fmla="*/ 519 w 816"/>
                <a:gd name="T45" fmla="*/ 20 h 1290"/>
                <a:gd name="T46" fmla="*/ 375 w 816"/>
                <a:gd name="T47" fmla="*/ 0 h 1290"/>
                <a:gd name="T48" fmla="*/ 0 w 816"/>
                <a:gd name="T49" fmla="*/ 326 h 1290"/>
                <a:gd name="T50" fmla="*/ 125 w 816"/>
                <a:gd name="T51" fmla="*/ 562 h 1290"/>
                <a:gd name="T52" fmla="*/ 24 w 816"/>
                <a:gd name="T53" fmla="*/ 707 h 1290"/>
                <a:gd name="T54" fmla="*/ 115 w 816"/>
                <a:gd name="T55" fmla="*/ 860 h 1290"/>
                <a:gd name="T56" fmla="*/ 315 w 816"/>
                <a:gd name="T57" fmla="*/ 874 h 1290"/>
                <a:gd name="T58" fmla="*/ 459 w 816"/>
                <a:gd name="T59" fmla="*/ 856 h 1290"/>
                <a:gd name="T60" fmla="*/ 633 w 816"/>
                <a:gd name="T61" fmla="*/ 976 h 1290"/>
                <a:gd name="T62" fmla="*/ 381 w 816"/>
                <a:gd name="T63" fmla="*/ 1152 h 1290"/>
                <a:gd name="T64" fmla="*/ 150 w 816"/>
                <a:gd name="T65" fmla="*/ 1021 h 1290"/>
                <a:gd name="T66" fmla="*/ 149 w 816"/>
                <a:gd name="T67" fmla="*/ 999 h 1290"/>
                <a:gd name="T68" fmla="*/ 13 w 816"/>
                <a:gd name="T69" fmla="*/ 999 h 1290"/>
                <a:gd name="T70" fmla="*/ 15 w 816"/>
                <a:gd name="T71" fmla="*/ 1048 h 1290"/>
                <a:gd name="T72" fmla="*/ 369 w 816"/>
                <a:gd name="T73" fmla="*/ 1283 h 1290"/>
                <a:gd name="T74" fmla="*/ 811 w 816"/>
                <a:gd name="T75" fmla="*/ 947 h 1290"/>
                <a:gd name="T76" fmla="*/ 501 w 816"/>
                <a:gd name="T77" fmla="*/ 714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6" h="1290">
                  <a:moveTo>
                    <a:pt x="367" y="133"/>
                  </a:moveTo>
                  <a:lnTo>
                    <a:pt x="367" y="133"/>
                  </a:lnTo>
                  <a:cubicBezTo>
                    <a:pt x="483" y="133"/>
                    <a:pt x="552" y="175"/>
                    <a:pt x="552" y="310"/>
                  </a:cubicBezTo>
                  <a:cubicBezTo>
                    <a:pt x="552" y="437"/>
                    <a:pt x="478" y="483"/>
                    <a:pt x="365" y="483"/>
                  </a:cubicBezTo>
                  <a:cubicBezTo>
                    <a:pt x="227" y="483"/>
                    <a:pt x="176" y="437"/>
                    <a:pt x="176" y="309"/>
                  </a:cubicBezTo>
                  <a:cubicBezTo>
                    <a:pt x="176" y="193"/>
                    <a:pt x="231" y="133"/>
                    <a:pt x="367" y="133"/>
                  </a:cubicBezTo>
                  <a:lnTo>
                    <a:pt x="367" y="133"/>
                  </a:lnTo>
                  <a:close/>
                  <a:moveTo>
                    <a:pt x="501" y="714"/>
                  </a:moveTo>
                  <a:lnTo>
                    <a:pt x="501" y="714"/>
                  </a:lnTo>
                  <a:lnTo>
                    <a:pt x="358" y="725"/>
                  </a:lnTo>
                  <a:cubicBezTo>
                    <a:pt x="252" y="741"/>
                    <a:pt x="216" y="730"/>
                    <a:pt x="218" y="663"/>
                  </a:cubicBezTo>
                  <a:cubicBezTo>
                    <a:pt x="219" y="639"/>
                    <a:pt x="233" y="614"/>
                    <a:pt x="267" y="601"/>
                  </a:cubicBezTo>
                  <a:cubicBezTo>
                    <a:pt x="292" y="606"/>
                    <a:pt x="331" y="609"/>
                    <a:pt x="363" y="609"/>
                  </a:cubicBezTo>
                  <a:cubicBezTo>
                    <a:pt x="599" y="609"/>
                    <a:pt x="726" y="481"/>
                    <a:pt x="726" y="299"/>
                  </a:cubicBezTo>
                  <a:cubicBezTo>
                    <a:pt x="726" y="250"/>
                    <a:pt x="711" y="196"/>
                    <a:pt x="683" y="148"/>
                  </a:cubicBezTo>
                  <a:cubicBezTo>
                    <a:pt x="712" y="143"/>
                    <a:pt x="755" y="141"/>
                    <a:pt x="805" y="147"/>
                  </a:cubicBezTo>
                  <a:lnTo>
                    <a:pt x="805" y="1"/>
                  </a:lnTo>
                  <a:cubicBezTo>
                    <a:pt x="789" y="0"/>
                    <a:pt x="772" y="0"/>
                    <a:pt x="754" y="0"/>
                  </a:cubicBezTo>
                  <a:lnTo>
                    <a:pt x="748" y="0"/>
                  </a:lnTo>
                  <a:lnTo>
                    <a:pt x="736" y="0"/>
                  </a:lnTo>
                  <a:cubicBezTo>
                    <a:pt x="706" y="0"/>
                    <a:pt x="677" y="2"/>
                    <a:pt x="648" y="6"/>
                  </a:cubicBezTo>
                  <a:cubicBezTo>
                    <a:pt x="610" y="11"/>
                    <a:pt x="588" y="21"/>
                    <a:pt x="568" y="39"/>
                  </a:cubicBezTo>
                  <a:cubicBezTo>
                    <a:pt x="557" y="33"/>
                    <a:pt x="531" y="23"/>
                    <a:pt x="519" y="20"/>
                  </a:cubicBezTo>
                  <a:cubicBezTo>
                    <a:pt x="491" y="15"/>
                    <a:pt x="426" y="0"/>
                    <a:pt x="375" y="0"/>
                  </a:cubicBezTo>
                  <a:cubicBezTo>
                    <a:pt x="135" y="0"/>
                    <a:pt x="0" y="148"/>
                    <a:pt x="0" y="326"/>
                  </a:cubicBezTo>
                  <a:cubicBezTo>
                    <a:pt x="0" y="430"/>
                    <a:pt x="43" y="516"/>
                    <a:pt x="125" y="562"/>
                  </a:cubicBezTo>
                  <a:cubicBezTo>
                    <a:pt x="66" y="587"/>
                    <a:pt x="24" y="646"/>
                    <a:pt x="24" y="707"/>
                  </a:cubicBezTo>
                  <a:cubicBezTo>
                    <a:pt x="24" y="778"/>
                    <a:pt x="63" y="836"/>
                    <a:pt x="115" y="860"/>
                  </a:cubicBezTo>
                  <a:cubicBezTo>
                    <a:pt x="192" y="895"/>
                    <a:pt x="315" y="874"/>
                    <a:pt x="315" y="874"/>
                  </a:cubicBezTo>
                  <a:lnTo>
                    <a:pt x="459" y="856"/>
                  </a:lnTo>
                  <a:cubicBezTo>
                    <a:pt x="554" y="844"/>
                    <a:pt x="631" y="904"/>
                    <a:pt x="633" y="976"/>
                  </a:cubicBezTo>
                  <a:cubicBezTo>
                    <a:pt x="636" y="1067"/>
                    <a:pt x="538" y="1152"/>
                    <a:pt x="381" y="1152"/>
                  </a:cubicBezTo>
                  <a:cubicBezTo>
                    <a:pt x="176" y="1152"/>
                    <a:pt x="152" y="1110"/>
                    <a:pt x="150" y="1021"/>
                  </a:cubicBezTo>
                  <a:cubicBezTo>
                    <a:pt x="149" y="1016"/>
                    <a:pt x="149" y="1004"/>
                    <a:pt x="149" y="999"/>
                  </a:cubicBezTo>
                  <a:lnTo>
                    <a:pt x="13" y="999"/>
                  </a:lnTo>
                  <a:cubicBezTo>
                    <a:pt x="13" y="999"/>
                    <a:pt x="14" y="1031"/>
                    <a:pt x="15" y="1048"/>
                  </a:cubicBezTo>
                  <a:cubicBezTo>
                    <a:pt x="20" y="1210"/>
                    <a:pt x="149" y="1290"/>
                    <a:pt x="369" y="1283"/>
                  </a:cubicBezTo>
                  <a:cubicBezTo>
                    <a:pt x="638" y="1275"/>
                    <a:pt x="816" y="1126"/>
                    <a:pt x="811" y="947"/>
                  </a:cubicBezTo>
                  <a:cubicBezTo>
                    <a:pt x="806" y="790"/>
                    <a:pt x="684" y="708"/>
                    <a:pt x="501" y="71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3" name="Freeform 11">
              <a:extLst>
                <a:ext uri="{FF2B5EF4-FFF2-40B4-BE49-F238E27FC236}">
                  <a16:creationId xmlns:a16="http://schemas.microsoft.com/office/drawing/2014/main" id="{34B9B5A1-332F-A7B1-3D53-B21F39BAF663}"/>
                </a:ext>
              </a:extLst>
            </p:cNvPr>
            <p:cNvSpPr>
              <a:spLocks/>
            </p:cNvSpPr>
            <p:nvPr userDrawn="1"/>
          </p:nvSpPr>
          <p:spPr bwMode="auto">
            <a:xfrm>
              <a:off x="1298576" y="852488"/>
              <a:ext cx="69850" cy="142875"/>
            </a:xfrm>
            <a:custGeom>
              <a:avLst/>
              <a:gdLst>
                <a:gd name="T0" fmla="*/ 355 w 426"/>
                <a:gd name="T1" fmla="*/ 1 h 870"/>
                <a:gd name="T2" fmla="*/ 355 w 426"/>
                <a:gd name="T3" fmla="*/ 1 h 870"/>
                <a:gd name="T4" fmla="*/ 263 w 426"/>
                <a:gd name="T5" fmla="*/ 7 h 870"/>
                <a:gd name="T6" fmla="*/ 125 w 426"/>
                <a:gd name="T7" fmla="*/ 54 h 870"/>
                <a:gd name="T8" fmla="*/ 21 w 426"/>
                <a:gd name="T9" fmla="*/ 182 h 870"/>
                <a:gd name="T10" fmla="*/ 0 w 426"/>
                <a:gd name="T11" fmla="*/ 306 h 870"/>
                <a:gd name="T12" fmla="*/ 0 w 426"/>
                <a:gd name="T13" fmla="*/ 870 h 870"/>
                <a:gd name="T14" fmla="*/ 160 w 426"/>
                <a:gd name="T15" fmla="*/ 870 h 870"/>
                <a:gd name="T16" fmla="*/ 160 w 426"/>
                <a:gd name="T17" fmla="*/ 314 h 870"/>
                <a:gd name="T18" fmla="*/ 354 w 426"/>
                <a:gd name="T19" fmla="*/ 151 h 870"/>
                <a:gd name="T20" fmla="*/ 426 w 426"/>
                <a:gd name="T21" fmla="*/ 153 h 870"/>
                <a:gd name="T22" fmla="*/ 426 w 426"/>
                <a:gd name="T23" fmla="*/ 2 h 870"/>
                <a:gd name="T24" fmla="*/ 355 w 426"/>
                <a:gd name="T25" fmla="*/ 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870">
                  <a:moveTo>
                    <a:pt x="355" y="1"/>
                  </a:moveTo>
                  <a:lnTo>
                    <a:pt x="355" y="1"/>
                  </a:lnTo>
                  <a:cubicBezTo>
                    <a:pt x="323" y="1"/>
                    <a:pt x="293" y="3"/>
                    <a:pt x="263" y="7"/>
                  </a:cubicBezTo>
                  <a:cubicBezTo>
                    <a:pt x="203" y="15"/>
                    <a:pt x="158" y="31"/>
                    <a:pt x="125" y="54"/>
                  </a:cubicBezTo>
                  <a:cubicBezTo>
                    <a:pt x="76" y="85"/>
                    <a:pt x="40" y="128"/>
                    <a:pt x="21" y="182"/>
                  </a:cubicBezTo>
                  <a:cubicBezTo>
                    <a:pt x="7" y="218"/>
                    <a:pt x="0" y="260"/>
                    <a:pt x="0" y="306"/>
                  </a:cubicBezTo>
                  <a:lnTo>
                    <a:pt x="0" y="870"/>
                  </a:lnTo>
                  <a:lnTo>
                    <a:pt x="160" y="870"/>
                  </a:lnTo>
                  <a:lnTo>
                    <a:pt x="160" y="314"/>
                  </a:lnTo>
                  <a:cubicBezTo>
                    <a:pt x="160" y="196"/>
                    <a:pt x="215" y="151"/>
                    <a:pt x="354" y="151"/>
                  </a:cubicBezTo>
                  <a:cubicBezTo>
                    <a:pt x="354" y="151"/>
                    <a:pt x="393" y="149"/>
                    <a:pt x="426" y="153"/>
                  </a:cubicBezTo>
                  <a:lnTo>
                    <a:pt x="426" y="2"/>
                  </a:lnTo>
                  <a:cubicBezTo>
                    <a:pt x="401" y="0"/>
                    <a:pt x="355" y="1"/>
                    <a:pt x="355" y="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4" name="Freeform 12">
              <a:extLst>
                <a:ext uri="{FF2B5EF4-FFF2-40B4-BE49-F238E27FC236}">
                  <a16:creationId xmlns:a16="http://schemas.microsoft.com/office/drawing/2014/main" id="{CB3C1270-1FA1-2D72-471D-36F52600C330}"/>
                </a:ext>
              </a:extLst>
            </p:cNvPr>
            <p:cNvSpPr>
              <a:spLocks noEditPoints="1"/>
            </p:cNvSpPr>
            <p:nvPr userDrawn="1"/>
          </p:nvSpPr>
          <p:spPr bwMode="auto">
            <a:xfrm>
              <a:off x="1157288" y="811213"/>
              <a:ext cx="112713" cy="185738"/>
            </a:xfrm>
            <a:custGeom>
              <a:avLst/>
              <a:gdLst>
                <a:gd name="T0" fmla="*/ 499 w 686"/>
                <a:gd name="T1" fmla="*/ 440 h 1129"/>
                <a:gd name="T2" fmla="*/ 499 w 686"/>
                <a:gd name="T3" fmla="*/ 440 h 1129"/>
                <a:gd name="T4" fmla="*/ 514 w 686"/>
                <a:gd name="T5" fmla="*/ 462 h 1129"/>
                <a:gd name="T6" fmla="*/ 532 w 686"/>
                <a:gd name="T7" fmla="*/ 551 h 1129"/>
                <a:gd name="T8" fmla="*/ 532 w 686"/>
                <a:gd name="T9" fmla="*/ 826 h 1129"/>
                <a:gd name="T10" fmla="*/ 343 w 686"/>
                <a:gd name="T11" fmla="*/ 984 h 1129"/>
                <a:gd name="T12" fmla="*/ 155 w 686"/>
                <a:gd name="T13" fmla="*/ 826 h 1129"/>
                <a:gd name="T14" fmla="*/ 155 w 686"/>
                <a:gd name="T15" fmla="*/ 551 h 1129"/>
                <a:gd name="T16" fmla="*/ 186 w 686"/>
                <a:gd name="T17" fmla="*/ 440 h 1129"/>
                <a:gd name="T18" fmla="*/ 499 w 686"/>
                <a:gd name="T19" fmla="*/ 440 h 1129"/>
                <a:gd name="T20" fmla="*/ 499 w 686"/>
                <a:gd name="T21" fmla="*/ 440 h 1129"/>
                <a:gd name="T22" fmla="*/ 514 w 686"/>
                <a:gd name="T23" fmla="*/ 0 h 1129"/>
                <a:gd name="T24" fmla="*/ 514 w 686"/>
                <a:gd name="T25" fmla="*/ 0 h 1129"/>
                <a:gd name="T26" fmla="*/ 514 w 686"/>
                <a:gd name="T27" fmla="*/ 274 h 1129"/>
                <a:gd name="T28" fmla="*/ 342 w 686"/>
                <a:gd name="T29" fmla="*/ 248 h 1129"/>
                <a:gd name="T30" fmla="*/ 0 w 686"/>
                <a:gd name="T31" fmla="*/ 543 h 1129"/>
                <a:gd name="T32" fmla="*/ 0 w 686"/>
                <a:gd name="T33" fmla="*/ 855 h 1129"/>
                <a:gd name="T34" fmla="*/ 74 w 686"/>
                <a:gd name="T35" fmla="*/ 1040 h 1129"/>
                <a:gd name="T36" fmla="*/ 353 w 686"/>
                <a:gd name="T37" fmla="*/ 1129 h 1129"/>
                <a:gd name="T38" fmla="*/ 686 w 686"/>
                <a:gd name="T39" fmla="*/ 835 h 1129"/>
                <a:gd name="T40" fmla="*/ 686 w 686"/>
                <a:gd name="T41" fmla="*/ 0 h 1129"/>
                <a:gd name="T42" fmla="*/ 514 w 686"/>
                <a:gd name="T4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1129">
                  <a:moveTo>
                    <a:pt x="499" y="440"/>
                  </a:moveTo>
                  <a:lnTo>
                    <a:pt x="499" y="440"/>
                  </a:lnTo>
                  <a:cubicBezTo>
                    <a:pt x="505" y="447"/>
                    <a:pt x="510" y="454"/>
                    <a:pt x="514" y="462"/>
                  </a:cubicBezTo>
                  <a:cubicBezTo>
                    <a:pt x="526" y="485"/>
                    <a:pt x="532" y="514"/>
                    <a:pt x="532" y="551"/>
                  </a:cubicBezTo>
                  <a:lnTo>
                    <a:pt x="532" y="826"/>
                  </a:lnTo>
                  <a:cubicBezTo>
                    <a:pt x="532" y="939"/>
                    <a:pt x="480" y="984"/>
                    <a:pt x="343" y="984"/>
                  </a:cubicBezTo>
                  <a:cubicBezTo>
                    <a:pt x="206" y="984"/>
                    <a:pt x="159" y="937"/>
                    <a:pt x="155" y="826"/>
                  </a:cubicBezTo>
                  <a:cubicBezTo>
                    <a:pt x="150" y="704"/>
                    <a:pt x="152" y="605"/>
                    <a:pt x="155" y="551"/>
                  </a:cubicBezTo>
                  <a:cubicBezTo>
                    <a:pt x="157" y="502"/>
                    <a:pt x="164" y="466"/>
                    <a:pt x="186" y="440"/>
                  </a:cubicBezTo>
                  <a:cubicBezTo>
                    <a:pt x="236" y="381"/>
                    <a:pt x="430" y="371"/>
                    <a:pt x="499" y="440"/>
                  </a:cubicBezTo>
                  <a:lnTo>
                    <a:pt x="499" y="440"/>
                  </a:lnTo>
                  <a:close/>
                  <a:moveTo>
                    <a:pt x="514" y="0"/>
                  </a:moveTo>
                  <a:lnTo>
                    <a:pt x="514" y="0"/>
                  </a:lnTo>
                  <a:lnTo>
                    <a:pt x="514" y="274"/>
                  </a:lnTo>
                  <a:cubicBezTo>
                    <a:pt x="463" y="254"/>
                    <a:pt x="406" y="248"/>
                    <a:pt x="342" y="248"/>
                  </a:cubicBezTo>
                  <a:cubicBezTo>
                    <a:pt x="214" y="248"/>
                    <a:pt x="0" y="286"/>
                    <a:pt x="0" y="543"/>
                  </a:cubicBezTo>
                  <a:cubicBezTo>
                    <a:pt x="0" y="543"/>
                    <a:pt x="0" y="852"/>
                    <a:pt x="0" y="855"/>
                  </a:cubicBezTo>
                  <a:cubicBezTo>
                    <a:pt x="0" y="926"/>
                    <a:pt x="31" y="997"/>
                    <a:pt x="74" y="1040"/>
                  </a:cubicBezTo>
                  <a:cubicBezTo>
                    <a:pt x="122" y="1088"/>
                    <a:pt x="192" y="1129"/>
                    <a:pt x="353" y="1129"/>
                  </a:cubicBezTo>
                  <a:cubicBezTo>
                    <a:pt x="515" y="1129"/>
                    <a:pt x="686" y="1060"/>
                    <a:pt x="686" y="835"/>
                  </a:cubicBezTo>
                  <a:cubicBezTo>
                    <a:pt x="686" y="829"/>
                    <a:pt x="686" y="0"/>
                    <a:pt x="686" y="0"/>
                  </a:cubicBezTo>
                  <a:lnTo>
                    <a:pt x="5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5" name="Freeform 13">
              <a:extLst>
                <a:ext uri="{FF2B5EF4-FFF2-40B4-BE49-F238E27FC236}">
                  <a16:creationId xmlns:a16="http://schemas.microsoft.com/office/drawing/2014/main" id="{6903BC5B-BFDB-F5F1-CA17-2C39BE2A6C66}"/>
                </a:ext>
              </a:extLst>
            </p:cNvPr>
            <p:cNvSpPr>
              <a:spLocks noEditPoints="1"/>
            </p:cNvSpPr>
            <p:nvPr userDrawn="1"/>
          </p:nvSpPr>
          <p:spPr bwMode="auto">
            <a:xfrm>
              <a:off x="830263" y="811213"/>
              <a:ext cx="234950" cy="184150"/>
            </a:xfrm>
            <a:custGeom>
              <a:avLst/>
              <a:gdLst>
                <a:gd name="T0" fmla="*/ 512 w 1431"/>
                <a:gd name="T1" fmla="*/ 483 h 1118"/>
                <a:gd name="T2" fmla="*/ 512 w 1431"/>
                <a:gd name="T3" fmla="*/ 483 h 1118"/>
                <a:gd name="T4" fmla="*/ 594 w 1431"/>
                <a:gd name="T5" fmla="*/ 321 h 1118"/>
                <a:gd name="T6" fmla="*/ 796 w 1431"/>
                <a:gd name="T7" fmla="*/ 152 h 1118"/>
                <a:gd name="T8" fmla="*/ 842 w 1431"/>
                <a:gd name="T9" fmla="*/ 152 h 1118"/>
                <a:gd name="T10" fmla="*/ 842 w 1431"/>
                <a:gd name="T11" fmla="*/ 483 h 1118"/>
                <a:gd name="T12" fmla="*/ 512 w 1431"/>
                <a:gd name="T13" fmla="*/ 483 h 1118"/>
                <a:gd name="T14" fmla="*/ 512 w 1431"/>
                <a:gd name="T15" fmla="*/ 483 h 1118"/>
                <a:gd name="T16" fmla="*/ 1189 w 1431"/>
                <a:gd name="T17" fmla="*/ 964 h 1118"/>
                <a:gd name="T18" fmla="*/ 1189 w 1431"/>
                <a:gd name="T19" fmla="*/ 964 h 1118"/>
                <a:gd name="T20" fmla="*/ 1017 w 1431"/>
                <a:gd name="T21" fmla="*/ 829 h 1118"/>
                <a:gd name="T22" fmla="*/ 1017 w 1431"/>
                <a:gd name="T23" fmla="*/ 631 h 1118"/>
                <a:gd name="T24" fmla="*/ 1403 w 1431"/>
                <a:gd name="T25" fmla="*/ 631 h 1118"/>
                <a:gd name="T26" fmla="*/ 1403 w 1431"/>
                <a:gd name="T27" fmla="*/ 483 h 1118"/>
                <a:gd name="T28" fmla="*/ 1017 w 1431"/>
                <a:gd name="T29" fmla="*/ 483 h 1118"/>
                <a:gd name="T30" fmla="*/ 1017 w 1431"/>
                <a:gd name="T31" fmla="*/ 151 h 1118"/>
                <a:gd name="T32" fmla="*/ 1403 w 1431"/>
                <a:gd name="T33" fmla="*/ 151 h 1118"/>
                <a:gd name="T34" fmla="*/ 1403 w 1431"/>
                <a:gd name="T35" fmla="*/ 0 h 1118"/>
                <a:gd name="T36" fmla="*/ 803 w 1431"/>
                <a:gd name="T37" fmla="*/ 0 h 1118"/>
                <a:gd name="T38" fmla="*/ 443 w 1431"/>
                <a:gd name="T39" fmla="*/ 263 h 1118"/>
                <a:gd name="T40" fmla="*/ 0 w 1431"/>
                <a:gd name="T41" fmla="*/ 1118 h 1118"/>
                <a:gd name="T42" fmla="*/ 192 w 1431"/>
                <a:gd name="T43" fmla="*/ 1118 h 1118"/>
                <a:gd name="T44" fmla="*/ 440 w 1431"/>
                <a:gd name="T45" fmla="*/ 625 h 1118"/>
                <a:gd name="T46" fmla="*/ 842 w 1431"/>
                <a:gd name="T47" fmla="*/ 625 h 1118"/>
                <a:gd name="T48" fmla="*/ 842 w 1431"/>
                <a:gd name="T49" fmla="*/ 856 h 1118"/>
                <a:gd name="T50" fmla="*/ 909 w 1431"/>
                <a:gd name="T51" fmla="*/ 1035 h 1118"/>
                <a:gd name="T52" fmla="*/ 1107 w 1431"/>
                <a:gd name="T53" fmla="*/ 1118 h 1118"/>
                <a:gd name="T54" fmla="*/ 1431 w 1431"/>
                <a:gd name="T55" fmla="*/ 1118 h 1118"/>
                <a:gd name="T56" fmla="*/ 1431 w 1431"/>
                <a:gd name="T57" fmla="*/ 964 h 1118"/>
                <a:gd name="T58" fmla="*/ 1189 w 1431"/>
                <a:gd name="T59" fmla="*/ 964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1" h="1118">
                  <a:moveTo>
                    <a:pt x="512" y="483"/>
                  </a:moveTo>
                  <a:lnTo>
                    <a:pt x="512" y="483"/>
                  </a:lnTo>
                  <a:lnTo>
                    <a:pt x="594" y="321"/>
                  </a:lnTo>
                  <a:cubicBezTo>
                    <a:pt x="654" y="201"/>
                    <a:pt x="722" y="152"/>
                    <a:pt x="796" y="152"/>
                  </a:cubicBezTo>
                  <a:lnTo>
                    <a:pt x="842" y="152"/>
                  </a:lnTo>
                  <a:lnTo>
                    <a:pt x="842" y="483"/>
                  </a:lnTo>
                  <a:lnTo>
                    <a:pt x="512" y="483"/>
                  </a:lnTo>
                  <a:lnTo>
                    <a:pt x="512" y="483"/>
                  </a:lnTo>
                  <a:close/>
                  <a:moveTo>
                    <a:pt x="1189" y="964"/>
                  </a:moveTo>
                  <a:lnTo>
                    <a:pt x="1189" y="964"/>
                  </a:lnTo>
                  <a:cubicBezTo>
                    <a:pt x="1065" y="960"/>
                    <a:pt x="1022" y="922"/>
                    <a:pt x="1017" y="829"/>
                  </a:cubicBezTo>
                  <a:lnTo>
                    <a:pt x="1017" y="631"/>
                  </a:lnTo>
                  <a:lnTo>
                    <a:pt x="1403" y="631"/>
                  </a:lnTo>
                  <a:lnTo>
                    <a:pt x="1403" y="483"/>
                  </a:lnTo>
                  <a:lnTo>
                    <a:pt x="1017" y="483"/>
                  </a:lnTo>
                  <a:lnTo>
                    <a:pt x="1017" y="151"/>
                  </a:lnTo>
                  <a:lnTo>
                    <a:pt x="1403" y="151"/>
                  </a:lnTo>
                  <a:lnTo>
                    <a:pt x="1403" y="0"/>
                  </a:lnTo>
                  <a:lnTo>
                    <a:pt x="803" y="0"/>
                  </a:lnTo>
                  <a:cubicBezTo>
                    <a:pt x="628" y="3"/>
                    <a:pt x="544" y="68"/>
                    <a:pt x="443" y="263"/>
                  </a:cubicBezTo>
                  <a:lnTo>
                    <a:pt x="0" y="1118"/>
                  </a:lnTo>
                  <a:lnTo>
                    <a:pt x="192" y="1118"/>
                  </a:lnTo>
                  <a:lnTo>
                    <a:pt x="440" y="625"/>
                  </a:lnTo>
                  <a:lnTo>
                    <a:pt x="842" y="625"/>
                  </a:lnTo>
                  <a:lnTo>
                    <a:pt x="842" y="856"/>
                  </a:lnTo>
                  <a:cubicBezTo>
                    <a:pt x="842" y="927"/>
                    <a:pt x="866" y="992"/>
                    <a:pt x="909" y="1035"/>
                  </a:cubicBezTo>
                  <a:cubicBezTo>
                    <a:pt x="957" y="1084"/>
                    <a:pt x="1036" y="1118"/>
                    <a:pt x="1107" y="1118"/>
                  </a:cubicBezTo>
                  <a:lnTo>
                    <a:pt x="1431" y="1118"/>
                  </a:lnTo>
                  <a:lnTo>
                    <a:pt x="1431" y="964"/>
                  </a:lnTo>
                  <a:lnTo>
                    <a:pt x="1189" y="9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26" name="Kombinationstegning: figur 25">
              <a:extLst>
                <a:ext uri="{FF2B5EF4-FFF2-40B4-BE49-F238E27FC236}">
                  <a16:creationId xmlns:a16="http://schemas.microsoft.com/office/drawing/2014/main" id="{C629F577-80D7-02C9-A43A-C382652408CA}"/>
                </a:ext>
              </a:extLst>
            </p:cNvPr>
            <p:cNvSpPr>
              <a:spLocks/>
            </p:cNvSpPr>
            <p:nvPr userDrawn="1"/>
          </p:nvSpPr>
          <p:spPr bwMode="auto">
            <a:xfrm>
              <a:off x="1536701" y="777875"/>
              <a:ext cx="252413" cy="252413"/>
            </a:xfrm>
            <a:custGeom>
              <a:avLst/>
              <a:gdLst>
                <a:gd name="connsiteX0" fmla="*/ 129802 w 252413"/>
                <a:gd name="connsiteY0" fmla="*/ 32470 h 252413"/>
                <a:gd name="connsiteX1" fmla="*/ 127677 w 252413"/>
                <a:gd name="connsiteY1" fmla="*/ 32800 h 252413"/>
                <a:gd name="connsiteX2" fmla="*/ 125389 w 252413"/>
                <a:gd name="connsiteY2" fmla="*/ 32965 h 252413"/>
                <a:gd name="connsiteX3" fmla="*/ 124409 w 252413"/>
                <a:gd name="connsiteY3" fmla="*/ 33129 h 252413"/>
                <a:gd name="connsiteX4" fmla="*/ 121467 w 252413"/>
                <a:gd name="connsiteY4" fmla="*/ 33624 h 252413"/>
                <a:gd name="connsiteX5" fmla="*/ 117055 w 252413"/>
                <a:gd name="connsiteY5" fmla="*/ 34777 h 252413"/>
                <a:gd name="connsiteX6" fmla="*/ 115421 w 252413"/>
                <a:gd name="connsiteY6" fmla="*/ 35272 h 252413"/>
                <a:gd name="connsiteX7" fmla="*/ 114440 w 252413"/>
                <a:gd name="connsiteY7" fmla="*/ 36590 h 252413"/>
                <a:gd name="connsiteX8" fmla="*/ 116075 w 252413"/>
                <a:gd name="connsiteY8" fmla="*/ 38238 h 252413"/>
                <a:gd name="connsiteX9" fmla="*/ 117382 w 252413"/>
                <a:gd name="connsiteY9" fmla="*/ 38403 h 252413"/>
                <a:gd name="connsiteX10" fmla="*/ 125389 w 252413"/>
                <a:gd name="connsiteY10" fmla="*/ 40051 h 252413"/>
                <a:gd name="connsiteX11" fmla="*/ 127677 w 252413"/>
                <a:gd name="connsiteY11" fmla="*/ 40545 h 252413"/>
                <a:gd name="connsiteX12" fmla="*/ 154315 w 252413"/>
                <a:gd name="connsiteY12" fmla="*/ 52080 h 252413"/>
                <a:gd name="connsiteX13" fmla="*/ 180625 w 252413"/>
                <a:gd name="connsiteY13" fmla="*/ 122447 h 252413"/>
                <a:gd name="connsiteX14" fmla="*/ 148268 w 252413"/>
                <a:gd name="connsiteY14" fmla="*/ 154087 h 252413"/>
                <a:gd name="connsiteX15" fmla="*/ 120814 w 252413"/>
                <a:gd name="connsiteY15" fmla="*/ 134147 h 252413"/>
                <a:gd name="connsiteX16" fmla="*/ 121141 w 252413"/>
                <a:gd name="connsiteY16" fmla="*/ 133323 h 252413"/>
                <a:gd name="connsiteX17" fmla="*/ 121304 w 252413"/>
                <a:gd name="connsiteY17" fmla="*/ 133158 h 252413"/>
                <a:gd name="connsiteX18" fmla="*/ 121467 w 252413"/>
                <a:gd name="connsiteY18" fmla="*/ 132993 h 252413"/>
                <a:gd name="connsiteX19" fmla="*/ 122121 w 252413"/>
                <a:gd name="connsiteY19" fmla="*/ 133488 h 252413"/>
                <a:gd name="connsiteX20" fmla="*/ 123102 w 252413"/>
                <a:gd name="connsiteY20" fmla="*/ 136784 h 252413"/>
                <a:gd name="connsiteX21" fmla="*/ 136992 w 252413"/>
                <a:gd name="connsiteY21" fmla="*/ 144364 h 252413"/>
                <a:gd name="connsiteX22" fmla="*/ 139280 w 252413"/>
                <a:gd name="connsiteY22" fmla="*/ 144035 h 252413"/>
                <a:gd name="connsiteX23" fmla="*/ 152517 w 252413"/>
                <a:gd name="connsiteY23" fmla="*/ 71691 h 252413"/>
                <a:gd name="connsiteX24" fmla="*/ 37306 w 252413"/>
                <a:gd name="connsiteY24" fmla="*/ 107945 h 252413"/>
                <a:gd name="connsiteX25" fmla="*/ 42863 w 252413"/>
                <a:gd name="connsiteY25" fmla="*/ 170731 h 252413"/>
                <a:gd name="connsiteX26" fmla="*/ 121631 w 252413"/>
                <a:gd name="connsiteY26" fmla="*/ 218356 h 252413"/>
                <a:gd name="connsiteX27" fmla="*/ 124736 w 252413"/>
                <a:gd name="connsiteY27" fmla="*/ 218191 h 252413"/>
                <a:gd name="connsiteX28" fmla="*/ 127024 w 252413"/>
                <a:gd name="connsiteY28" fmla="*/ 217862 h 252413"/>
                <a:gd name="connsiteX29" fmla="*/ 131109 w 252413"/>
                <a:gd name="connsiteY29" fmla="*/ 217202 h 252413"/>
                <a:gd name="connsiteX30" fmla="*/ 135521 w 252413"/>
                <a:gd name="connsiteY30" fmla="*/ 216049 h 252413"/>
                <a:gd name="connsiteX31" fmla="*/ 136992 w 252413"/>
                <a:gd name="connsiteY31" fmla="*/ 215554 h 252413"/>
                <a:gd name="connsiteX32" fmla="*/ 137973 w 252413"/>
                <a:gd name="connsiteY32" fmla="*/ 214236 h 252413"/>
                <a:gd name="connsiteX33" fmla="*/ 136339 w 252413"/>
                <a:gd name="connsiteY33" fmla="*/ 212753 h 252413"/>
                <a:gd name="connsiteX34" fmla="*/ 135031 w 252413"/>
                <a:gd name="connsiteY34" fmla="*/ 212423 h 252413"/>
                <a:gd name="connsiteX35" fmla="*/ 127187 w 252413"/>
                <a:gd name="connsiteY35" fmla="*/ 210775 h 252413"/>
                <a:gd name="connsiteX36" fmla="*/ 124899 w 252413"/>
                <a:gd name="connsiteY36" fmla="*/ 210281 h 252413"/>
                <a:gd name="connsiteX37" fmla="*/ 98098 w 252413"/>
                <a:gd name="connsiteY37" fmla="*/ 198746 h 252413"/>
                <a:gd name="connsiteX38" fmla="*/ 71788 w 252413"/>
                <a:gd name="connsiteY38" fmla="*/ 128379 h 252413"/>
                <a:gd name="connsiteX39" fmla="*/ 104145 w 252413"/>
                <a:gd name="connsiteY39" fmla="*/ 96739 h 252413"/>
                <a:gd name="connsiteX40" fmla="*/ 131763 w 252413"/>
                <a:gd name="connsiteY40" fmla="*/ 116844 h 252413"/>
                <a:gd name="connsiteX41" fmla="*/ 131109 w 252413"/>
                <a:gd name="connsiteY41" fmla="*/ 117833 h 252413"/>
                <a:gd name="connsiteX42" fmla="*/ 130455 w 252413"/>
                <a:gd name="connsiteY42" fmla="*/ 117338 h 252413"/>
                <a:gd name="connsiteX43" fmla="*/ 129312 w 252413"/>
                <a:gd name="connsiteY43" fmla="*/ 114042 h 252413"/>
                <a:gd name="connsiteX44" fmla="*/ 115584 w 252413"/>
                <a:gd name="connsiteY44" fmla="*/ 106627 h 252413"/>
                <a:gd name="connsiteX45" fmla="*/ 113133 w 252413"/>
                <a:gd name="connsiteY45" fmla="*/ 106791 h 252413"/>
                <a:gd name="connsiteX46" fmla="*/ 99896 w 252413"/>
                <a:gd name="connsiteY46" fmla="*/ 179135 h 252413"/>
                <a:gd name="connsiteX47" fmla="*/ 215270 w 252413"/>
                <a:gd name="connsiteY47" fmla="*/ 142881 h 252413"/>
                <a:gd name="connsiteX48" fmla="*/ 209551 w 252413"/>
                <a:gd name="connsiteY48" fmla="*/ 80095 h 252413"/>
                <a:gd name="connsiteX49" fmla="*/ 130782 w 252413"/>
                <a:gd name="connsiteY49" fmla="*/ 32470 h 252413"/>
                <a:gd name="connsiteX50" fmla="*/ 129802 w 252413"/>
                <a:gd name="connsiteY50" fmla="*/ 32470 h 252413"/>
                <a:gd name="connsiteX51" fmla="*/ 126125 w 252413"/>
                <a:gd name="connsiteY51" fmla="*/ 0 h 252413"/>
                <a:gd name="connsiteX52" fmla="*/ 252413 w 252413"/>
                <a:gd name="connsiteY52" fmla="*/ 126207 h 252413"/>
                <a:gd name="connsiteX53" fmla="*/ 126125 w 252413"/>
                <a:gd name="connsiteY53" fmla="*/ 252413 h 252413"/>
                <a:gd name="connsiteX54" fmla="*/ 0 w 252413"/>
                <a:gd name="connsiteY54" fmla="*/ 126207 h 252413"/>
                <a:gd name="connsiteX55" fmla="*/ 126125 w 252413"/>
                <a:gd name="connsiteY55" fmla="*/ 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2413" h="252413">
                  <a:moveTo>
                    <a:pt x="129802" y="32470"/>
                  </a:moveTo>
                  <a:cubicBezTo>
                    <a:pt x="129148" y="32635"/>
                    <a:pt x="128331" y="32635"/>
                    <a:pt x="127677" y="32800"/>
                  </a:cubicBezTo>
                  <a:cubicBezTo>
                    <a:pt x="126860" y="32800"/>
                    <a:pt x="126207" y="32965"/>
                    <a:pt x="125389" y="32965"/>
                  </a:cubicBezTo>
                  <a:cubicBezTo>
                    <a:pt x="125063" y="33129"/>
                    <a:pt x="124736" y="33129"/>
                    <a:pt x="124409" y="33129"/>
                  </a:cubicBezTo>
                  <a:cubicBezTo>
                    <a:pt x="123428" y="33294"/>
                    <a:pt x="122448" y="33459"/>
                    <a:pt x="121467" y="33624"/>
                  </a:cubicBezTo>
                  <a:cubicBezTo>
                    <a:pt x="121304" y="33788"/>
                    <a:pt x="117382" y="34612"/>
                    <a:pt x="117055" y="34777"/>
                  </a:cubicBezTo>
                  <a:cubicBezTo>
                    <a:pt x="116728" y="34777"/>
                    <a:pt x="115584" y="35107"/>
                    <a:pt x="115421" y="35272"/>
                  </a:cubicBezTo>
                  <a:cubicBezTo>
                    <a:pt x="114931" y="35601"/>
                    <a:pt x="114440" y="36096"/>
                    <a:pt x="114440" y="36590"/>
                  </a:cubicBezTo>
                  <a:cubicBezTo>
                    <a:pt x="114440" y="37414"/>
                    <a:pt x="115094" y="37908"/>
                    <a:pt x="116075" y="38238"/>
                  </a:cubicBezTo>
                  <a:cubicBezTo>
                    <a:pt x="116075" y="38238"/>
                    <a:pt x="117055" y="38403"/>
                    <a:pt x="117382" y="38403"/>
                  </a:cubicBezTo>
                  <a:cubicBezTo>
                    <a:pt x="119180" y="38897"/>
                    <a:pt x="122775" y="39556"/>
                    <a:pt x="125389" y="40051"/>
                  </a:cubicBezTo>
                  <a:cubicBezTo>
                    <a:pt x="126207" y="40215"/>
                    <a:pt x="127024" y="40545"/>
                    <a:pt x="127677" y="40545"/>
                  </a:cubicBezTo>
                  <a:cubicBezTo>
                    <a:pt x="137156" y="42687"/>
                    <a:pt x="146307" y="46313"/>
                    <a:pt x="154315" y="52080"/>
                  </a:cubicBezTo>
                  <a:cubicBezTo>
                    <a:pt x="176213" y="67736"/>
                    <a:pt x="189287" y="94762"/>
                    <a:pt x="180625" y="122447"/>
                  </a:cubicBezTo>
                  <a:cubicBezTo>
                    <a:pt x="174579" y="142057"/>
                    <a:pt x="161015" y="151780"/>
                    <a:pt x="148268" y="154087"/>
                  </a:cubicBezTo>
                  <a:cubicBezTo>
                    <a:pt x="131926" y="157383"/>
                    <a:pt x="117055" y="148649"/>
                    <a:pt x="120814" y="134147"/>
                  </a:cubicBezTo>
                  <a:cubicBezTo>
                    <a:pt x="120814" y="133817"/>
                    <a:pt x="120977" y="133488"/>
                    <a:pt x="121141" y="133323"/>
                  </a:cubicBezTo>
                  <a:cubicBezTo>
                    <a:pt x="121141" y="133323"/>
                    <a:pt x="121141" y="133158"/>
                    <a:pt x="121304" y="133158"/>
                  </a:cubicBezTo>
                  <a:cubicBezTo>
                    <a:pt x="121304" y="132993"/>
                    <a:pt x="121467" y="132993"/>
                    <a:pt x="121467" y="132993"/>
                  </a:cubicBezTo>
                  <a:cubicBezTo>
                    <a:pt x="121794" y="132993"/>
                    <a:pt x="121958" y="133158"/>
                    <a:pt x="122121" y="133488"/>
                  </a:cubicBezTo>
                  <a:cubicBezTo>
                    <a:pt x="122121" y="133488"/>
                    <a:pt x="122611" y="135465"/>
                    <a:pt x="123102" y="136784"/>
                  </a:cubicBezTo>
                  <a:cubicBezTo>
                    <a:pt x="125880" y="142222"/>
                    <a:pt x="131273" y="144364"/>
                    <a:pt x="136992" y="144364"/>
                  </a:cubicBezTo>
                  <a:cubicBezTo>
                    <a:pt x="137809" y="144199"/>
                    <a:pt x="138463" y="144199"/>
                    <a:pt x="139280" y="144035"/>
                  </a:cubicBezTo>
                  <a:cubicBezTo>
                    <a:pt x="173435" y="139750"/>
                    <a:pt x="175723" y="93114"/>
                    <a:pt x="152517" y="71691"/>
                  </a:cubicBezTo>
                  <a:cubicBezTo>
                    <a:pt x="113460" y="35272"/>
                    <a:pt x="50216" y="56859"/>
                    <a:pt x="37306" y="107945"/>
                  </a:cubicBezTo>
                  <a:cubicBezTo>
                    <a:pt x="31750" y="125907"/>
                    <a:pt x="32567" y="147330"/>
                    <a:pt x="42863" y="170731"/>
                  </a:cubicBezTo>
                  <a:cubicBezTo>
                    <a:pt x="55609" y="199075"/>
                    <a:pt x="88130" y="220663"/>
                    <a:pt x="121631" y="218356"/>
                  </a:cubicBezTo>
                  <a:cubicBezTo>
                    <a:pt x="121958" y="218356"/>
                    <a:pt x="124082" y="218191"/>
                    <a:pt x="124736" y="218191"/>
                  </a:cubicBezTo>
                  <a:cubicBezTo>
                    <a:pt x="125553" y="218026"/>
                    <a:pt x="126370" y="217862"/>
                    <a:pt x="127024" y="217862"/>
                  </a:cubicBezTo>
                  <a:cubicBezTo>
                    <a:pt x="127351" y="217862"/>
                    <a:pt x="129965" y="217367"/>
                    <a:pt x="131109" y="217202"/>
                  </a:cubicBezTo>
                  <a:cubicBezTo>
                    <a:pt x="131109" y="217202"/>
                    <a:pt x="135195" y="216214"/>
                    <a:pt x="135521" y="216049"/>
                  </a:cubicBezTo>
                  <a:cubicBezTo>
                    <a:pt x="135848" y="216049"/>
                    <a:pt x="136829" y="215719"/>
                    <a:pt x="136992" y="215554"/>
                  </a:cubicBezTo>
                  <a:cubicBezTo>
                    <a:pt x="137483" y="215225"/>
                    <a:pt x="137973" y="214895"/>
                    <a:pt x="137973" y="214236"/>
                  </a:cubicBezTo>
                  <a:cubicBezTo>
                    <a:pt x="137973" y="213412"/>
                    <a:pt x="137319" y="212918"/>
                    <a:pt x="136339" y="212753"/>
                  </a:cubicBezTo>
                  <a:cubicBezTo>
                    <a:pt x="136339" y="212753"/>
                    <a:pt x="135521" y="212423"/>
                    <a:pt x="135031" y="212423"/>
                  </a:cubicBezTo>
                  <a:cubicBezTo>
                    <a:pt x="133234" y="212094"/>
                    <a:pt x="129638" y="211270"/>
                    <a:pt x="127187" y="210775"/>
                  </a:cubicBezTo>
                  <a:cubicBezTo>
                    <a:pt x="126207" y="210611"/>
                    <a:pt x="125553" y="210446"/>
                    <a:pt x="124899" y="210281"/>
                  </a:cubicBezTo>
                  <a:cubicBezTo>
                    <a:pt x="115421" y="208139"/>
                    <a:pt x="106269" y="204513"/>
                    <a:pt x="98098" y="198746"/>
                  </a:cubicBezTo>
                  <a:cubicBezTo>
                    <a:pt x="76200" y="183090"/>
                    <a:pt x="63127" y="156064"/>
                    <a:pt x="71788" y="128379"/>
                  </a:cubicBezTo>
                  <a:cubicBezTo>
                    <a:pt x="77998" y="108769"/>
                    <a:pt x="91398" y="99211"/>
                    <a:pt x="104145" y="96739"/>
                  </a:cubicBezTo>
                  <a:cubicBezTo>
                    <a:pt x="120487" y="93608"/>
                    <a:pt x="135521" y="102177"/>
                    <a:pt x="131763" y="116844"/>
                  </a:cubicBezTo>
                  <a:cubicBezTo>
                    <a:pt x="131599" y="117503"/>
                    <a:pt x="131273" y="117833"/>
                    <a:pt x="131109" y="117833"/>
                  </a:cubicBezTo>
                  <a:cubicBezTo>
                    <a:pt x="130782" y="117833"/>
                    <a:pt x="130455" y="117338"/>
                    <a:pt x="130455" y="117338"/>
                  </a:cubicBezTo>
                  <a:cubicBezTo>
                    <a:pt x="130455" y="117338"/>
                    <a:pt x="129965" y="115361"/>
                    <a:pt x="129312" y="114042"/>
                  </a:cubicBezTo>
                  <a:cubicBezTo>
                    <a:pt x="126533" y="108604"/>
                    <a:pt x="121141" y="106462"/>
                    <a:pt x="115584" y="106627"/>
                  </a:cubicBezTo>
                  <a:cubicBezTo>
                    <a:pt x="114767" y="106627"/>
                    <a:pt x="113950" y="106627"/>
                    <a:pt x="113133" y="106791"/>
                  </a:cubicBezTo>
                  <a:cubicBezTo>
                    <a:pt x="78978" y="111076"/>
                    <a:pt x="76854" y="157877"/>
                    <a:pt x="99896" y="179135"/>
                  </a:cubicBezTo>
                  <a:cubicBezTo>
                    <a:pt x="139117" y="215554"/>
                    <a:pt x="202360" y="194131"/>
                    <a:pt x="215270" y="142881"/>
                  </a:cubicBezTo>
                  <a:cubicBezTo>
                    <a:pt x="220663" y="124919"/>
                    <a:pt x="220009" y="103496"/>
                    <a:pt x="209551" y="80095"/>
                  </a:cubicBezTo>
                  <a:cubicBezTo>
                    <a:pt x="196967" y="51916"/>
                    <a:pt x="164447" y="30163"/>
                    <a:pt x="130782" y="32470"/>
                  </a:cubicBezTo>
                  <a:cubicBezTo>
                    <a:pt x="130455" y="32470"/>
                    <a:pt x="130129" y="32470"/>
                    <a:pt x="129802" y="32470"/>
                  </a:cubicBezTo>
                  <a:close/>
                  <a:moveTo>
                    <a:pt x="126125" y="0"/>
                  </a:moveTo>
                  <a:cubicBezTo>
                    <a:pt x="195829" y="0"/>
                    <a:pt x="252413" y="56457"/>
                    <a:pt x="252413" y="126207"/>
                  </a:cubicBezTo>
                  <a:cubicBezTo>
                    <a:pt x="252413" y="195957"/>
                    <a:pt x="195829" y="252413"/>
                    <a:pt x="126125" y="252413"/>
                  </a:cubicBezTo>
                  <a:cubicBezTo>
                    <a:pt x="56420" y="252413"/>
                    <a:pt x="0" y="195957"/>
                    <a:pt x="0" y="126207"/>
                  </a:cubicBezTo>
                  <a:cubicBezTo>
                    <a:pt x="0" y="56457"/>
                    <a:pt x="56420" y="0"/>
                    <a:pt x="1261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da-DK">
                <a:solidFill>
                  <a:sysClr val="windowText" lastClr="000000"/>
                </a:solidFill>
              </a:endParaRPr>
            </a:p>
          </p:txBody>
        </p:sp>
        <p:sp>
          <p:nvSpPr>
            <p:cNvPr id="27" name="Freeform 16">
              <a:extLst>
                <a:ext uri="{FF2B5EF4-FFF2-40B4-BE49-F238E27FC236}">
                  <a16:creationId xmlns:a16="http://schemas.microsoft.com/office/drawing/2014/main" id="{9A318EA0-5281-9362-181D-ED1CAE2A8EAA}"/>
                </a:ext>
              </a:extLst>
            </p:cNvPr>
            <p:cNvSpPr>
              <a:spLocks/>
            </p:cNvSpPr>
            <p:nvPr userDrawn="1"/>
          </p:nvSpPr>
          <p:spPr bwMode="auto">
            <a:xfrm>
              <a:off x="2382838" y="852488"/>
              <a:ext cx="112713" cy="142875"/>
            </a:xfrm>
            <a:custGeom>
              <a:avLst/>
              <a:gdLst>
                <a:gd name="T0" fmla="*/ 666 w 686"/>
                <a:gd name="T1" fmla="*/ 176 h 871"/>
                <a:gd name="T2" fmla="*/ 666 w 686"/>
                <a:gd name="T3" fmla="*/ 176 h 871"/>
                <a:gd name="T4" fmla="*/ 647 w 686"/>
                <a:gd name="T5" fmla="*/ 136 h 871"/>
                <a:gd name="T6" fmla="*/ 647 w 686"/>
                <a:gd name="T7" fmla="*/ 136 h 871"/>
                <a:gd name="T8" fmla="*/ 346 w 686"/>
                <a:gd name="T9" fmla="*/ 0 h 871"/>
                <a:gd name="T10" fmla="*/ 253 w 686"/>
                <a:gd name="T11" fmla="*/ 7 h 871"/>
                <a:gd name="T12" fmla="*/ 120 w 686"/>
                <a:gd name="T13" fmla="*/ 52 h 871"/>
                <a:gd name="T14" fmla="*/ 37 w 686"/>
                <a:gd name="T15" fmla="*/ 136 h 871"/>
                <a:gd name="T16" fmla="*/ 38 w 686"/>
                <a:gd name="T17" fmla="*/ 136 h 871"/>
                <a:gd name="T18" fmla="*/ 19 w 686"/>
                <a:gd name="T19" fmla="*/ 175 h 871"/>
                <a:gd name="T20" fmla="*/ 0 w 686"/>
                <a:gd name="T21" fmla="*/ 295 h 871"/>
                <a:gd name="T22" fmla="*/ 0 w 686"/>
                <a:gd name="T23" fmla="*/ 871 h 871"/>
                <a:gd name="T24" fmla="*/ 154 w 686"/>
                <a:gd name="T25" fmla="*/ 871 h 871"/>
                <a:gd name="T26" fmla="*/ 154 w 686"/>
                <a:gd name="T27" fmla="*/ 303 h 871"/>
                <a:gd name="T28" fmla="*/ 327 w 686"/>
                <a:gd name="T29" fmla="*/ 145 h 871"/>
                <a:gd name="T30" fmla="*/ 338 w 686"/>
                <a:gd name="T31" fmla="*/ 145 h 871"/>
                <a:gd name="T32" fmla="*/ 498 w 686"/>
                <a:gd name="T33" fmla="*/ 191 h 871"/>
                <a:gd name="T34" fmla="*/ 501 w 686"/>
                <a:gd name="T35" fmla="*/ 194 h 871"/>
                <a:gd name="T36" fmla="*/ 504 w 686"/>
                <a:gd name="T37" fmla="*/ 199 h 871"/>
                <a:gd name="T38" fmla="*/ 530 w 686"/>
                <a:gd name="T39" fmla="*/ 275 h 871"/>
                <a:gd name="T40" fmla="*/ 531 w 686"/>
                <a:gd name="T41" fmla="*/ 303 h 871"/>
                <a:gd name="T42" fmla="*/ 531 w 686"/>
                <a:gd name="T43" fmla="*/ 871 h 871"/>
                <a:gd name="T44" fmla="*/ 686 w 686"/>
                <a:gd name="T45" fmla="*/ 871 h 871"/>
                <a:gd name="T46" fmla="*/ 686 w 686"/>
                <a:gd name="T47" fmla="*/ 295 h 871"/>
                <a:gd name="T48" fmla="*/ 666 w 686"/>
                <a:gd name="T49" fmla="*/ 17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871">
                  <a:moveTo>
                    <a:pt x="666" y="176"/>
                  </a:moveTo>
                  <a:lnTo>
                    <a:pt x="666" y="176"/>
                  </a:lnTo>
                  <a:cubicBezTo>
                    <a:pt x="661" y="162"/>
                    <a:pt x="655" y="148"/>
                    <a:pt x="647" y="136"/>
                  </a:cubicBezTo>
                  <a:lnTo>
                    <a:pt x="647" y="136"/>
                  </a:lnTo>
                  <a:cubicBezTo>
                    <a:pt x="580" y="23"/>
                    <a:pt x="440" y="1"/>
                    <a:pt x="346" y="0"/>
                  </a:cubicBezTo>
                  <a:cubicBezTo>
                    <a:pt x="306" y="0"/>
                    <a:pt x="281" y="3"/>
                    <a:pt x="253" y="7"/>
                  </a:cubicBezTo>
                  <a:cubicBezTo>
                    <a:pt x="195" y="14"/>
                    <a:pt x="151" y="30"/>
                    <a:pt x="120" y="52"/>
                  </a:cubicBezTo>
                  <a:cubicBezTo>
                    <a:pt x="85" y="74"/>
                    <a:pt x="57" y="102"/>
                    <a:pt x="37" y="136"/>
                  </a:cubicBezTo>
                  <a:lnTo>
                    <a:pt x="38" y="136"/>
                  </a:lnTo>
                  <a:cubicBezTo>
                    <a:pt x="30" y="148"/>
                    <a:pt x="24" y="161"/>
                    <a:pt x="19" y="175"/>
                  </a:cubicBezTo>
                  <a:cubicBezTo>
                    <a:pt x="6" y="210"/>
                    <a:pt x="0" y="250"/>
                    <a:pt x="0" y="295"/>
                  </a:cubicBezTo>
                  <a:lnTo>
                    <a:pt x="0" y="871"/>
                  </a:lnTo>
                  <a:lnTo>
                    <a:pt x="154" y="871"/>
                  </a:lnTo>
                  <a:lnTo>
                    <a:pt x="154" y="303"/>
                  </a:lnTo>
                  <a:cubicBezTo>
                    <a:pt x="154" y="196"/>
                    <a:pt x="197" y="151"/>
                    <a:pt x="327" y="145"/>
                  </a:cubicBezTo>
                  <a:cubicBezTo>
                    <a:pt x="332" y="145"/>
                    <a:pt x="339" y="145"/>
                    <a:pt x="338" y="145"/>
                  </a:cubicBezTo>
                  <a:cubicBezTo>
                    <a:pt x="419" y="146"/>
                    <a:pt x="469" y="160"/>
                    <a:pt x="498" y="191"/>
                  </a:cubicBezTo>
                  <a:cubicBezTo>
                    <a:pt x="499" y="192"/>
                    <a:pt x="500" y="193"/>
                    <a:pt x="501" y="194"/>
                  </a:cubicBezTo>
                  <a:cubicBezTo>
                    <a:pt x="502" y="196"/>
                    <a:pt x="503" y="197"/>
                    <a:pt x="504" y="199"/>
                  </a:cubicBezTo>
                  <a:cubicBezTo>
                    <a:pt x="519" y="218"/>
                    <a:pt x="527" y="243"/>
                    <a:pt x="530" y="275"/>
                  </a:cubicBezTo>
                  <a:cubicBezTo>
                    <a:pt x="531" y="284"/>
                    <a:pt x="531" y="293"/>
                    <a:pt x="531" y="303"/>
                  </a:cubicBezTo>
                  <a:lnTo>
                    <a:pt x="531" y="871"/>
                  </a:lnTo>
                  <a:lnTo>
                    <a:pt x="686" y="871"/>
                  </a:lnTo>
                  <a:lnTo>
                    <a:pt x="686" y="295"/>
                  </a:lnTo>
                  <a:cubicBezTo>
                    <a:pt x="686" y="251"/>
                    <a:pt x="679" y="211"/>
                    <a:pt x="666" y="17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sp>
        <p:nvSpPr>
          <p:cNvPr id="28" name="Pladsholder til billede 27">
            <a:extLst>
              <a:ext uri="{FF2B5EF4-FFF2-40B4-BE49-F238E27FC236}">
                <a16:creationId xmlns:a16="http://schemas.microsoft.com/office/drawing/2014/main" id="{8704F738-6CD5-F46F-CAD2-AEB4AA9C495A}"/>
              </a:ext>
            </a:extLst>
          </p:cNvPr>
          <p:cNvSpPr>
            <a:spLocks noGrp="1"/>
          </p:cNvSpPr>
          <p:nvPr>
            <p:ph type="pic" sz="quarter" idx="10"/>
          </p:nvPr>
        </p:nvSpPr>
        <p:spPr>
          <a:xfrm>
            <a:off x="6076524" y="0"/>
            <a:ext cx="6115477" cy="6858000"/>
          </a:xfrm>
          <a:custGeom>
            <a:avLst/>
            <a:gdLst>
              <a:gd name="connsiteX0" fmla="*/ 3097942 w 6115477"/>
              <a:gd name="connsiteY0" fmla="*/ 360991 h 6858000"/>
              <a:gd name="connsiteX1" fmla="*/ 5048086 w 6115477"/>
              <a:gd name="connsiteY1" fmla="*/ 1133487 h 6858000"/>
              <a:gd name="connsiteX2" fmla="*/ 4484764 w 6115477"/>
              <a:gd name="connsiteY2" fmla="*/ 4212194 h 6858000"/>
              <a:gd name="connsiteX3" fmla="*/ 4387400 w 6115477"/>
              <a:gd name="connsiteY3" fmla="*/ 4226220 h 6858000"/>
              <a:gd name="connsiteX4" fmla="*/ 3796261 w 6115477"/>
              <a:gd name="connsiteY4" fmla="*/ 3903622 h 6858000"/>
              <a:gd name="connsiteX5" fmla="*/ 3754534 w 6115477"/>
              <a:gd name="connsiteY5" fmla="*/ 3763362 h 6858000"/>
              <a:gd name="connsiteX6" fmla="*/ 3726715 w 6115477"/>
              <a:gd name="connsiteY6" fmla="*/ 3742323 h 6858000"/>
              <a:gd name="connsiteX7" fmla="*/ 3719760 w 6115477"/>
              <a:gd name="connsiteY7" fmla="*/ 3749336 h 6858000"/>
              <a:gd name="connsiteX8" fmla="*/ 3712806 w 6115477"/>
              <a:gd name="connsiteY8" fmla="*/ 3756349 h 6858000"/>
              <a:gd name="connsiteX9" fmla="*/ 3698897 w 6115477"/>
              <a:gd name="connsiteY9" fmla="*/ 3791414 h 6858000"/>
              <a:gd name="connsiteX10" fmla="*/ 4867266 w 6115477"/>
              <a:gd name="connsiteY10" fmla="*/ 4639987 h 6858000"/>
              <a:gd name="connsiteX11" fmla="*/ 6068128 w 6115477"/>
              <a:gd name="connsiteY11" fmla="*/ 3719238 h 6858000"/>
              <a:gd name="connsiteX12" fmla="*/ 6115477 w 6115477"/>
              <a:gd name="connsiteY12" fmla="*/ 3623370 h 6858000"/>
              <a:gd name="connsiteX13" fmla="*/ 6115477 w 6115477"/>
              <a:gd name="connsiteY13" fmla="*/ 6155481 h 6858000"/>
              <a:gd name="connsiteX14" fmla="*/ 6032540 w 6115477"/>
              <a:gd name="connsiteY14" fmla="*/ 6197000 h 6858000"/>
              <a:gd name="connsiteX15" fmla="*/ 2808711 w 6115477"/>
              <a:gd name="connsiteY15" fmla="*/ 5705963 h 6858000"/>
              <a:gd name="connsiteX16" fmla="*/ 3372032 w 6115477"/>
              <a:gd name="connsiteY16" fmla="*/ 2627256 h 6858000"/>
              <a:gd name="connsiteX17" fmla="*/ 3476350 w 6115477"/>
              <a:gd name="connsiteY17" fmla="*/ 2620243 h 6858000"/>
              <a:gd name="connsiteX18" fmla="*/ 4060535 w 6115477"/>
              <a:gd name="connsiteY18" fmla="*/ 2935828 h 6858000"/>
              <a:gd name="connsiteX19" fmla="*/ 4109217 w 6115477"/>
              <a:gd name="connsiteY19" fmla="*/ 3076088 h 6858000"/>
              <a:gd name="connsiteX20" fmla="*/ 4137036 w 6115477"/>
              <a:gd name="connsiteY20" fmla="*/ 3097127 h 6858000"/>
              <a:gd name="connsiteX21" fmla="*/ 4164854 w 6115477"/>
              <a:gd name="connsiteY21" fmla="*/ 3055049 h 6858000"/>
              <a:gd name="connsiteX22" fmla="*/ 3246265 w 6115477"/>
              <a:gd name="connsiteY22" fmla="*/ 2172370 h 6858000"/>
              <a:gd name="connsiteX23" fmla="*/ 2989530 w 6115477"/>
              <a:gd name="connsiteY23" fmla="*/ 2199463 h 6858000"/>
              <a:gd name="connsiteX24" fmla="*/ 1612523 w 6115477"/>
              <a:gd name="connsiteY24" fmla="*/ 3545959 h 6858000"/>
              <a:gd name="connsiteX25" fmla="*/ 2732210 w 6115477"/>
              <a:gd name="connsiteY25" fmla="*/ 6540510 h 6858000"/>
              <a:gd name="connsiteX26" fmla="*/ 3281622 w 6115477"/>
              <a:gd name="connsiteY26" fmla="*/ 6843823 h 6858000"/>
              <a:gd name="connsiteX27" fmla="*/ 3320286 w 6115477"/>
              <a:gd name="connsiteY27" fmla="*/ 6858000 h 6858000"/>
              <a:gd name="connsiteX28" fmla="*/ 1738891 w 6115477"/>
              <a:gd name="connsiteY28" fmla="*/ 6858000 h 6858000"/>
              <a:gd name="connsiteX29" fmla="*/ 1726405 w 6115477"/>
              <a:gd name="connsiteY29" fmla="*/ 6850836 h 6858000"/>
              <a:gd name="connsiteX30" fmla="*/ 381563 w 6115477"/>
              <a:gd name="connsiteY30" fmla="*/ 5348300 h 6858000"/>
              <a:gd name="connsiteX31" fmla="*/ 145107 w 6115477"/>
              <a:gd name="connsiteY31" fmla="*/ 2676347 h 6858000"/>
              <a:gd name="connsiteX32" fmla="*/ 3097942 w 6115477"/>
              <a:gd name="connsiteY32" fmla="*/ 360991 h 6858000"/>
              <a:gd name="connsiteX33" fmla="*/ 4590885 w 6115477"/>
              <a:gd name="connsiteY33" fmla="*/ 0 h 6858000"/>
              <a:gd name="connsiteX34" fmla="*/ 6115477 w 6115477"/>
              <a:gd name="connsiteY34" fmla="*/ 0 h 6858000"/>
              <a:gd name="connsiteX35" fmla="*/ 6115477 w 6115477"/>
              <a:gd name="connsiteY35" fmla="*/ 1478397 h 6858000"/>
              <a:gd name="connsiteX36" fmla="*/ 6086069 w 6115477"/>
              <a:gd name="connsiteY36" fmla="*/ 1413064 h 6858000"/>
              <a:gd name="connsiteX37" fmla="*/ 5124586 w 6115477"/>
              <a:gd name="connsiteY37" fmla="*/ 298940 h 6858000"/>
              <a:gd name="connsiteX38" fmla="*/ 4722511 w 6115477"/>
              <a:gd name="connsiteY38" fmla="*/ 59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115477" h="6858000">
                <a:moveTo>
                  <a:pt x="3097942" y="360991"/>
                </a:moveTo>
                <a:cubicBezTo>
                  <a:pt x="3783738" y="359646"/>
                  <a:pt x="4476724" y="600718"/>
                  <a:pt x="5048086" y="1133487"/>
                </a:cubicBezTo>
                <a:cubicBezTo>
                  <a:pt x="6035636" y="2045177"/>
                  <a:pt x="5938272" y="4029856"/>
                  <a:pt x="4484764" y="4212194"/>
                </a:cubicBezTo>
                <a:cubicBezTo>
                  <a:pt x="4449992" y="4219207"/>
                  <a:pt x="4422173" y="4219207"/>
                  <a:pt x="4387400" y="4226220"/>
                </a:cubicBezTo>
                <a:cubicBezTo>
                  <a:pt x="4143990" y="4226220"/>
                  <a:pt x="3914489" y="4135051"/>
                  <a:pt x="3796261" y="3903622"/>
                </a:cubicBezTo>
                <a:cubicBezTo>
                  <a:pt x="3775397" y="3847518"/>
                  <a:pt x="3754534" y="3763362"/>
                  <a:pt x="3754534" y="3763362"/>
                </a:cubicBezTo>
                <a:cubicBezTo>
                  <a:pt x="3747579" y="3749336"/>
                  <a:pt x="3740624" y="3742323"/>
                  <a:pt x="3726715" y="3742323"/>
                </a:cubicBezTo>
                <a:cubicBezTo>
                  <a:pt x="3726715" y="3742323"/>
                  <a:pt x="3719760" y="3742323"/>
                  <a:pt x="3719760" y="3749336"/>
                </a:cubicBezTo>
                <a:cubicBezTo>
                  <a:pt x="3712806" y="3749336"/>
                  <a:pt x="3712806" y="3756349"/>
                  <a:pt x="3712806" y="3756349"/>
                </a:cubicBezTo>
                <a:cubicBezTo>
                  <a:pt x="3705852" y="3763362"/>
                  <a:pt x="3698897" y="3777388"/>
                  <a:pt x="3698897" y="3791414"/>
                </a:cubicBezTo>
                <a:cubicBezTo>
                  <a:pt x="3538942" y="4408558"/>
                  <a:pt x="4171808" y="4780247"/>
                  <a:pt x="4867266" y="4639987"/>
                </a:cubicBezTo>
                <a:cubicBezTo>
                  <a:pt x="5308013" y="4560214"/>
                  <a:pt x="5771715" y="4272106"/>
                  <a:pt x="6068128" y="3719238"/>
                </a:cubicBezTo>
                <a:lnTo>
                  <a:pt x="6115477" y="3623370"/>
                </a:lnTo>
                <a:lnTo>
                  <a:pt x="6115477" y="6155481"/>
                </a:lnTo>
                <a:lnTo>
                  <a:pt x="6032540" y="6197000"/>
                </a:lnTo>
                <a:cubicBezTo>
                  <a:pt x="5009917" y="6670716"/>
                  <a:pt x="3747579" y="6577767"/>
                  <a:pt x="2808711" y="5705963"/>
                </a:cubicBezTo>
                <a:cubicBezTo>
                  <a:pt x="1828115" y="4801286"/>
                  <a:pt x="1918525" y="2809594"/>
                  <a:pt x="3372032" y="2627256"/>
                </a:cubicBezTo>
                <a:cubicBezTo>
                  <a:pt x="3406804" y="2620243"/>
                  <a:pt x="3441578" y="2620243"/>
                  <a:pt x="3476350" y="2620243"/>
                </a:cubicBezTo>
                <a:cubicBezTo>
                  <a:pt x="3712806" y="2613230"/>
                  <a:pt x="3942307" y="2704399"/>
                  <a:pt x="4060535" y="2935828"/>
                </a:cubicBezTo>
                <a:cubicBezTo>
                  <a:pt x="4088353" y="2991932"/>
                  <a:pt x="4109217" y="3076088"/>
                  <a:pt x="4109217" y="3076088"/>
                </a:cubicBezTo>
                <a:cubicBezTo>
                  <a:pt x="4109217" y="3076088"/>
                  <a:pt x="4123126" y="3097127"/>
                  <a:pt x="4137036" y="3097127"/>
                </a:cubicBezTo>
                <a:cubicBezTo>
                  <a:pt x="4143990" y="3097127"/>
                  <a:pt x="4157899" y="3083101"/>
                  <a:pt x="4164854" y="3055049"/>
                </a:cubicBezTo>
                <a:cubicBezTo>
                  <a:pt x="4304815" y="2508912"/>
                  <a:pt x="3832447" y="2161440"/>
                  <a:pt x="3246265" y="2172370"/>
                </a:cubicBezTo>
                <a:cubicBezTo>
                  <a:pt x="3162525" y="2173932"/>
                  <a:pt x="3076462" y="2182807"/>
                  <a:pt x="2989530" y="2199463"/>
                </a:cubicBezTo>
                <a:cubicBezTo>
                  <a:pt x="2447072" y="2304658"/>
                  <a:pt x="1876797" y="2711412"/>
                  <a:pt x="1612523" y="3545959"/>
                </a:cubicBezTo>
                <a:cubicBezTo>
                  <a:pt x="1243930" y="4724143"/>
                  <a:pt x="1800297" y="5874275"/>
                  <a:pt x="2732210" y="6540510"/>
                </a:cubicBezTo>
                <a:cubicBezTo>
                  <a:pt x="2906075" y="6663238"/>
                  <a:pt x="3090371" y="6763173"/>
                  <a:pt x="3281622" y="6843823"/>
                </a:cubicBezTo>
                <a:lnTo>
                  <a:pt x="3320286" y="6858000"/>
                </a:lnTo>
                <a:lnTo>
                  <a:pt x="1738891" y="6858000"/>
                </a:lnTo>
                <a:lnTo>
                  <a:pt x="1726405" y="6850836"/>
                </a:lnTo>
                <a:cubicBezTo>
                  <a:pt x="1134396" y="6482653"/>
                  <a:pt x="652791" y="5951418"/>
                  <a:pt x="381563" y="5348300"/>
                </a:cubicBezTo>
                <a:cubicBezTo>
                  <a:pt x="-56576" y="4352454"/>
                  <a:pt x="-91349" y="3440764"/>
                  <a:pt x="145107" y="2676347"/>
                </a:cubicBezTo>
                <a:cubicBezTo>
                  <a:pt x="505659" y="1249640"/>
                  <a:pt x="1788697" y="363557"/>
                  <a:pt x="3097942" y="360991"/>
                </a:cubicBezTo>
                <a:close/>
                <a:moveTo>
                  <a:pt x="4590885" y="0"/>
                </a:moveTo>
                <a:lnTo>
                  <a:pt x="6115477" y="0"/>
                </a:lnTo>
                <a:lnTo>
                  <a:pt x="6115477" y="1478397"/>
                </a:lnTo>
                <a:lnTo>
                  <a:pt x="6086069" y="1413064"/>
                </a:lnTo>
                <a:cubicBezTo>
                  <a:pt x="5868129" y="974517"/>
                  <a:pt x="5532298" y="590418"/>
                  <a:pt x="5124586" y="298940"/>
                </a:cubicBezTo>
                <a:cubicBezTo>
                  <a:pt x="4996796" y="206895"/>
                  <a:pt x="4862159" y="127670"/>
                  <a:pt x="4722511" y="59786"/>
                </a:cubicBezTo>
                <a:close/>
              </a:path>
            </a:pathLst>
          </a:custGeom>
          <a:solidFill>
            <a:srgbClr val="A4B2BA"/>
          </a:solidFill>
        </p:spPr>
        <p:txBody>
          <a:bodyPr wrap="square" anchor="ctr">
            <a:noAutofit/>
          </a:bodyPr>
          <a:lstStyle>
            <a:lvl1pPr algn="ctr">
              <a:defRPr>
                <a:solidFill>
                  <a:schemeClr val="bg1"/>
                </a:solidFill>
              </a:defRPr>
            </a:lvl1pPr>
          </a:lstStyle>
          <a:p>
            <a:r>
              <a:rPr lang="da-DK"/>
              <a:t>Klik på ikonet for at tilføje et billede</a:t>
            </a:r>
            <a:endParaRPr lang="en-US"/>
          </a:p>
        </p:txBody>
      </p:sp>
    </p:spTree>
    <p:extLst>
      <p:ext uri="{BB962C8B-B14F-4D97-AF65-F5344CB8AC3E}">
        <p14:creationId xmlns:p14="http://schemas.microsoft.com/office/powerpoint/2010/main" val="24941611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2FAA613-2912-544B-8C5A-8052A87E69EA}"/>
              </a:ext>
            </a:extLst>
          </p:cNvPr>
          <p:cNvSpPr>
            <a:spLocks/>
          </p:cNvSpPr>
          <p:nvPr userDrawn="1"/>
        </p:nvSpPr>
        <p:spPr>
          <a:xfrm>
            <a:off x="0" y="0"/>
            <a:ext cx="12192000" cy="657701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600" err="1">
              <a:solidFill>
                <a:schemeClr val="tx2"/>
              </a:solidFill>
            </a:endParaRPr>
          </a:p>
        </p:txBody>
      </p:sp>
      <p:sp>
        <p:nvSpPr>
          <p:cNvPr id="2" name="Title 1">
            <a:extLst>
              <a:ext uri="{FF2B5EF4-FFF2-40B4-BE49-F238E27FC236}">
                <a16:creationId xmlns:a16="http://schemas.microsoft.com/office/drawing/2014/main" id="{4047D6D0-103E-8295-89D9-10032540A0F9}"/>
              </a:ext>
            </a:extLst>
          </p:cNvPr>
          <p:cNvSpPr>
            <a:spLocks noGrp="1"/>
          </p:cNvSpPr>
          <p:nvPr>
            <p:ph type="title" hasCustomPrompt="1"/>
          </p:nvPr>
        </p:nvSpPr>
        <p:spPr/>
        <p:txBody>
          <a:bodyPr/>
          <a:lstStyle/>
          <a:p>
            <a:r>
              <a:rPr lang="da-DK"/>
              <a:t>Klik for at redigere titeltypografien i masteren</a:t>
            </a:r>
          </a:p>
        </p:txBody>
      </p:sp>
      <p:sp>
        <p:nvSpPr>
          <p:cNvPr id="4" name="Date Placeholder 3">
            <a:extLst>
              <a:ext uri="{FF2B5EF4-FFF2-40B4-BE49-F238E27FC236}">
                <a16:creationId xmlns:a16="http://schemas.microsoft.com/office/drawing/2014/main" id="{366E6BCD-F967-E310-F398-C32E844479A9}"/>
              </a:ext>
            </a:extLst>
          </p:cNvPr>
          <p:cNvSpPr>
            <a:spLocks noGrp="1"/>
          </p:cNvSpPr>
          <p:nvPr>
            <p:ph type="dt" sz="half" idx="10"/>
          </p:nvPr>
        </p:nvSpPr>
        <p:spPr/>
        <p:txBody>
          <a:bodyPr/>
          <a:lstStyle/>
          <a:p>
            <a:fld id="{8434F52A-91D6-43DA-9C68-0CFF170258BB}" type="datetime1">
              <a:rPr lang="da-DK" smtClean="0"/>
              <a:t>16-09-2025</a:t>
            </a:fld>
            <a:endParaRPr lang="da-DK"/>
          </a:p>
        </p:txBody>
      </p:sp>
      <p:sp>
        <p:nvSpPr>
          <p:cNvPr id="5" name="Footer Placeholder 4">
            <a:extLst>
              <a:ext uri="{FF2B5EF4-FFF2-40B4-BE49-F238E27FC236}">
                <a16:creationId xmlns:a16="http://schemas.microsoft.com/office/drawing/2014/main" id="{34C9C08A-76F1-C8FF-BB02-51F8CA06D724}"/>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AA7759-5896-B6F1-0C37-59C847084B39}"/>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11" name="Text Placeholder 10">
            <a:extLst>
              <a:ext uri="{FF2B5EF4-FFF2-40B4-BE49-F238E27FC236}">
                <a16:creationId xmlns:a16="http://schemas.microsoft.com/office/drawing/2014/main" id="{6375B8A8-C72F-43C8-21A3-E4DA5EE2A690}"/>
              </a:ext>
            </a:extLst>
          </p:cNvPr>
          <p:cNvSpPr>
            <a:spLocks noGrp="1"/>
          </p:cNvSpPr>
          <p:nvPr>
            <p:ph type="body" sz="quarter" idx="13" hasCustomPrompt="1"/>
          </p:nvPr>
        </p:nvSpPr>
        <p:spPr>
          <a:xfrm>
            <a:off x="414338" y="1540510"/>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12" name="Text Placeholder 10">
            <a:extLst>
              <a:ext uri="{FF2B5EF4-FFF2-40B4-BE49-F238E27FC236}">
                <a16:creationId xmlns:a16="http://schemas.microsoft.com/office/drawing/2014/main" id="{71A3FCE1-ADBF-CC2C-0B1B-34C37AF1AEAC}"/>
              </a:ext>
            </a:extLst>
          </p:cNvPr>
          <p:cNvSpPr>
            <a:spLocks noGrp="1"/>
          </p:cNvSpPr>
          <p:nvPr>
            <p:ph type="body" sz="quarter" idx="14" hasCustomPrompt="1"/>
          </p:nvPr>
        </p:nvSpPr>
        <p:spPr>
          <a:xfrm>
            <a:off x="1246187" y="1540510"/>
            <a:ext cx="10529887"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13" name="Text Placeholder 10">
            <a:extLst>
              <a:ext uri="{FF2B5EF4-FFF2-40B4-BE49-F238E27FC236}">
                <a16:creationId xmlns:a16="http://schemas.microsoft.com/office/drawing/2014/main" id="{1014131A-1908-499C-25E8-082C282559AE}"/>
              </a:ext>
            </a:extLst>
          </p:cNvPr>
          <p:cNvSpPr>
            <a:spLocks noGrp="1"/>
          </p:cNvSpPr>
          <p:nvPr>
            <p:ph type="body" sz="quarter" idx="15" hasCustomPrompt="1"/>
          </p:nvPr>
        </p:nvSpPr>
        <p:spPr>
          <a:xfrm>
            <a:off x="414337" y="1958975"/>
            <a:ext cx="11361737" cy="421323"/>
          </a:xfrm>
          <a:blipFill>
            <a:blip r:embed="rId4">
              <a:extLst>
                <a:ext uri="{96DAC541-7B7A-43D3-8B79-37D633B846F1}">
                  <asvg:svgBlip xmlns:asvg="http://schemas.microsoft.com/office/drawing/2016/SVG/main" r:embed="rId5"/>
                </a:ext>
              </a:extLst>
            </a:blip>
            <a:stretch>
              <a:fillRect/>
            </a:stretch>
          </a:blipFill>
        </p:spPr>
        <p:txBody>
          <a:bodyPr lIns="144000" tIns="90000" anchor="t" anchorCtr="0"/>
          <a:lstStyle>
            <a:lvl1pPr>
              <a:defRPr sz="1400">
                <a:solidFill>
                  <a:schemeClr val="tx2"/>
                </a:solidFill>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7" name="Text Placeholder 10">
            <a:extLst>
              <a:ext uri="{FF2B5EF4-FFF2-40B4-BE49-F238E27FC236}">
                <a16:creationId xmlns:a16="http://schemas.microsoft.com/office/drawing/2014/main" id="{57DAB05B-6074-7A6E-0309-17DC9F68903C}"/>
              </a:ext>
            </a:extLst>
          </p:cNvPr>
          <p:cNvSpPr>
            <a:spLocks noGrp="1"/>
          </p:cNvSpPr>
          <p:nvPr>
            <p:ph type="body" sz="quarter" idx="16" hasCustomPrompt="1"/>
          </p:nvPr>
        </p:nvSpPr>
        <p:spPr>
          <a:xfrm>
            <a:off x="414338" y="2519363"/>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8" name="Text Placeholder 10">
            <a:extLst>
              <a:ext uri="{FF2B5EF4-FFF2-40B4-BE49-F238E27FC236}">
                <a16:creationId xmlns:a16="http://schemas.microsoft.com/office/drawing/2014/main" id="{202BD8C8-731E-2093-C331-14CE8556CB74}"/>
              </a:ext>
            </a:extLst>
          </p:cNvPr>
          <p:cNvSpPr>
            <a:spLocks noGrp="1"/>
          </p:cNvSpPr>
          <p:nvPr>
            <p:ph type="body" sz="quarter" idx="17" hasCustomPrompt="1"/>
          </p:nvPr>
        </p:nvSpPr>
        <p:spPr>
          <a:xfrm>
            <a:off x="1246187" y="2519363"/>
            <a:ext cx="10529887"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9" name="Text Placeholder 10">
            <a:extLst>
              <a:ext uri="{FF2B5EF4-FFF2-40B4-BE49-F238E27FC236}">
                <a16:creationId xmlns:a16="http://schemas.microsoft.com/office/drawing/2014/main" id="{796201B8-E872-19AE-FCAA-3A72DD74FA3E}"/>
              </a:ext>
            </a:extLst>
          </p:cNvPr>
          <p:cNvSpPr>
            <a:spLocks noGrp="1"/>
          </p:cNvSpPr>
          <p:nvPr>
            <p:ph type="body" sz="quarter" idx="18" hasCustomPrompt="1"/>
          </p:nvPr>
        </p:nvSpPr>
        <p:spPr>
          <a:xfrm>
            <a:off x="414337" y="2937828"/>
            <a:ext cx="11361737" cy="421323"/>
          </a:xfrm>
          <a:blipFill>
            <a:blip r:embed="rId4">
              <a:extLst>
                <a:ext uri="{96DAC541-7B7A-43D3-8B79-37D633B846F1}">
                  <asvg:svgBlip xmlns:asvg="http://schemas.microsoft.com/office/drawing/2016/SVG/main" r:embed="rId5"/>
                </a:ext>
              </a:extLst>
            </a:blip>
            <a:stretch>
              <a:fillRect/>
            </a:stretch>
          </a:blipFill>
        </p:spPr>
        <p:txBody>
          <a:bodyPr lIns="144000" tIns="90000" anchor="t" anchorCtr="0"/>
          <a:lstStyle>
            <a:lvl1pPr>
              <a:defRPr sz="1400">
                <a:solidFill>
                  <a:schemeClr val="tx2"/>
                </a:solidFill>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10" name="Text Placeholder 10">
            <a:extLst>
              <a:ext uri="{FF2B5EF4-FFF2-40B4-BE49-F238E27FC236}">
                <a16:creationId xmlns:a16="http://schemas.microsoft.com/office/drawing/2014/main" id="{DE6F72EE-0490-F46F-58BF-788F839BF887}"/>
              </a:ext>
            </a:extLst>
          </p:cNvPr>
          <p:cNvSpPr>
            <a:spLocks noGrp="1"/>
          </p:cNvSpPr>
          <p:nvPr>
            <p:ph type="body" sz="quarter" idx="19" hasCustomPrompt="1"/>
          </p:nvPr>
        </p:nvSpPr>
        <p:spPr>
          <a:xfrm>
            <a:off x="414338" y="3500120"/>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14" name="Text Placeholder 10">
            <a:extLst>
              <a:ext uri="{FF2B5EF4-FFF2-40B4-BE49-F238E27FC236}">
                <a16:creationId xmlns:a16="http://schemas.microsoft.com/office/drawing/2014/main" id="{ED8270AC-0F9F-2118-89A5-4FA011AA860A}"/>
              </a:ext>
            </a:extLst>
          </p:cNvPr>
          <p:cNvSpPr>
            <a:spLocks noGrp="1"/>
          </p:cNvSpPr>
          <p:nvPr>
            <p:ph type="body" sz="quarter" idx="20" hasCustomPrompt="1"/>
          </p:nvPr>
        </p:nvSpPr>
        <p:spPr>
          <a:xfrm>
            <a:off x="1246187" y="3500120"/>
            <a:ext cx="10529887"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15" name="Text Placeholder 10">
            <a:extLst>
              <a:ext uri="{FF2B5EF4-FFF2-40B4-BE49-F238E27FC236}">
                <a16:creationId xmlns:a16="http://schemas.microsoft.com/office/drawing/2014/main" id="{45AD80A4-7289-76F8-470C-2D27648F2DA6}"/>
              </a:ext>
            </a:extLst>
          </p:cNvPr>
          <p:cNvSpPr>
            <a:spLocks noGrp="1"/>
          </p:cNvSpPr>
          <p:nvPr>
            <p:ph type="body" sz="quarter" idx="21" hasCustomPrompt="1"/>
          </p:nvPr>
        </p:nvSpPr>
        <p:spPr>
          <a:xfrm>
            <a:off x="414337" y="3918585"/>
            <a:ext cx="11361737" cy="421323"/>
          </a:xfrm>
          <a:blipFill>
            <a:blip r:embed="rId4">
              <a:extLst>
                <a:ext uri="{96DAC541-7B7A-43D3-8B79-37D633B846F1}">
                  <asvg:svgBlip xmlns:asvg="http://schemas.microsoft.com/office/drawing/2016/SVG/main" r:embed="rId5"/>
                </a:ext>
              </a:extLst>
            </a:blip>
            <a:stretch>
              <a:fillRect/>
            </a:stretch>
          </a:blipFill>
        </p:spPr>
        <p:txBody>
          <a:bodyPr lIns="144000" tIns="90000" anchor="t" anchorCtr="0"/>
          <a:lstStyle>
            <a:lvl1pPr>
              <a:defRPr sz="1400">
                <a:solidFill>
                  <a:schemeClr val="tx2"/>
                </a:solidFill>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16" name="Text Placeholder 10">
            <a:extLst>
              <a:ext uri="{FF2B5EF4-FFF2-40B4-BE49-F238E27FC236}">
                <a16:creationId xmlns:a16="http://schemas.microsoft.com/office/drawing/2014/main" id="{0CE0D423-B333-FFB1-9833-F67B0EFB28CE}"/>
              </a:ext>
            </a:extLst>
          </p:cNvPr>
          <p:cNvSpPr>
            <a:spLocks noGrp="1"/>
          </p:cNvSpPr>
          <p:nvPr>
            <p:ph type="body" sz="quarter" idx="22" hasCustomPrompt="1"/>
          </p:nvPr>
        </p:nvSpPr>
        <p:spPr>
          <a:xfrm>
            <a:off x="414338" y="4478973"/>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17" name="Text Placeholder 10">
            <a:extLst>
              <a:ext uri="{FF2B5EF4-FFF2-40B4-BE49-F238E27FC236}">
                <a16:creationId xmlns:a16="http://schemas.microsoft.com/office/drawing/2014/main" id="{D9EC909C-EB31-356E-B47C-67E2AB56524E}"/>
              </a:ext>
            </a:extLst>
          </p:cNvPr>
          <p:cNvSpPr>
            <a:spLocks noGrp="1"/>
          </p:cNvSpPr>
          <p:nvPr>
            <p:ph type="body" sz="quarter" idx="23" hasCustomPrompt="1"/>
          </p:nvPr>
        </p:nvSpPr>
        <p:spPr>
          <a:xfrm>
            <a:off x="1246187" y="4478973"/>
            <a:ext cx="10529887"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18" name="Text Placeholder 10">
            <a:extLst>
              <a:ext uri="{FF2B5EF4-FFF2-40B4-BE49-F238E27FC236}">
                <a16:creationId xmlns:a16="http://schemas.microsoft.com/office/drawing/2014/main" id="{B9550632-E8D5-9674-66E2-E2EEA055280C}"/>
              </a:ext>
            </a:extLst>
          </p:cNvPr>
          <p:cNvSpPr>
            <a:spLocks noGrp="1"/>
          </p:cNvSpPr>
          <p:nvPr>
            <p:ph type="body" sz="quarter" idx="24" hasCustomPrompt="1"/>
          </p:nvPr>
        </p:nvSpPr>
        <p:spPr>
          <a:xfrm>
            <a:off x="414337" y="4897438"/>
            <a:ext cx="11361737" cy="421323"/>
          </a:xfrm>
          <a:blipFill>
            <a:blip r:embed="rId4">
              <a:extLst>
                <a:ext uri="{96DAC541-7B7A-43D3-8B79-37D633B846F1}">
                  <asvg:svgBlip xmlns:asvg="http://schemas.microsoft.com/office/drawing/2016/SVG/main" r:embed="rId5"/>
                </a:ext>
              </a:extLst>
            </a:blip>
            <a:stretch>
              <a:fillRect/>
            </a:stretch>
          </a:blipFill>
        </p:spPr>
        <p:txBody>
          <a:bodyPr lIns="144000" tIns="90000" anchor="t" anchorCtr="0"/>
          <a:lstStyle>
            <a:lvl1pPr>
              <a:defRPr sz="1400">
                <a:solidFill>
                  <a:schemeClr val="tx2"/>
                </a:solidFill>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19" name="Text Placeholder 10">
            <a:extLst>
              <a:ext uri="{FF2B5EF4-FFF2-40B4-BE49-F238E27FC236}">
                <a16:creationId xmlns:a16="http://schemas.microsoft.com/office/drawing/2014/main" id="{433FC44C-E6EF-0123-A942-4B073E4D7F68}"/>
              </a:ext>
            </a:extLst>
          </p:cNvPr>
          <p:cNvSpPr>
            <a:spLocks noGrp="1"/>
          </p:cNvSpPr>
          <p:nvPr>
            <p:ph type="body" sz="quarter" idx="25" hasCustomPrompt="1"/>
          </p:nvPr>
        </p:nvSpPr>
        <p:spPr>
          <a:xfrm>
            <a:off x="414338" y="5457825"/>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20" name="Text Placeholder 10">
            <a:extLst>
              <a:ext uri="{FF2B5EF4-FFF2-40B4-BE49-F238E27FC236}">
                <a16:creationId xmlns:a16="http://schemas.microsoft.com/office/drawing/2014/main" id="{18F836E2-4985-6202-6619-0FA850EBEAED}"/>
              </a:ext>
            </a:extLst>
          </p:cNvPr>
          <p:cNvSpPr>
            <a:spLocks noGrp="1"/>
          </p:cNvSpPr>
          <p:nvPr>
            <p:ph type="body" sz="quarter" idx="26" hasCustomPrompt="1"/>
          </p:nvPr>
        </p:nvSpPr>
        <p:spPr>
          <a:xfrm>
            <a:off x="1246187" y="5457825"/>
            <a:ext cx="10529887"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21" name="Text Placeholder 10">
            <a:extLst>
              <a:ext uri="{FF2B5EF4-FFF2-40B4-BE49-F238E27FC236}">
                <a16:creationId xmlns:a16="http://schemas.microsoft.com/office/drawing/2014/main" id="{3E261C05-6C74-FD1D-ABDF-FD57E2364FC6}"/>
              </a:ext>
            </a:extLst>
          </p:cNvPr>
          <p:cNvSpPr>
            <a:spLocks noGrp="1"/>
          </p:cNvSpPr>
          <p:nvPr>
            <p:ph type="body" sz="quarter" idx="27" hasCustomPrompt="1"/>
          </p:nvPr>
        </p:nvSpPr>
        <p:spPr>
          <a:xfrm>
            <a:off x="414337" y="5876290"/>
            <a:ext cx="11361737" cy="421323"/>
          </a:xfrm>
          <a:blipFill>
            <a:blip r:embed="rId4">
              <a:extLst>
                <a:ext uri="{96DAC541-7B7A-43D3-8B79-37D633B846F1}">
                  <asvg:svgBlip xmlns:asvg="http://schemas.microsoft.com/office/drawing/2016/SVG/main" r:embed="rId5"/>
                </a:ext>
              </a:extLst>
            </a:blip>
            <a:stretch>
              <a:fillRect/>
            </a:stretch>
          </a:blipFill>
        </p:spPr>
        <p:txBody>
          <a:bodyPr lIns="144000" tIns="90000" anchor="t" anchorCtr="0"/>
          <a:lstStyle>
            <a:lvl1pPr>
              <a:defRPr sz="1400">
                <a:solidFill>
                  <a:schemeClr val="tx2"/>
                </a:solidFill>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Tree>
    <p:extLst>
      <p:ext uri="{BB962C8B-B14F-4D97-AF65-F5344CB8AC3E}">
        <p14:creationId xmlns:p14="http://schemas.microsoft.com/office/powerpoint/2010/main" val="34922557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FAA613-2912-544B-8C5A-8052A87E69EA}"/>
              </a:ext>
            </a:extLst>
          </p:cNvPr>
          <p:cNvSpPr>
            <a:spLocks/>
          </p:cNvSpPr>
          <p:nvPr userDrawn="1"/>
        </p:nvSpPr>
        <p:spPr>
          <a:xfrm>
            <a:off x="0" y="0"/>
            <a:ext cx="12192000" cy="657701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200" err="1">
              <a:solidFill>
                <a:schemeClr val="tx2"/>
              </a:solidFill>
              <a:latin typeface="+mj-lt"/>
            </a:endParaRPr>
          </a:p>
        </p:txBody>
      </p:sp>
      <p:sp>
        <p:nvSpPr>
          <p:cNvPr id="2" name="Title 1">
            <a:extLst>
              <a:ext uri="{FF2B5EF4-FFF2-40B4-BE49-F238E27FC236}">
                <a16:creationId xmlns:a16="http://schemas.microsoft.com/office/drawing/2014/main" id="{4047D6D0-103E-8295-89D9-10032540A0F9}"/>
              </a:ext>
            </a:extLst>
          </p:cNvPr>
          <p:cNvSpPr>
            <a:spLocks noGrp="1"/>
          </p:cNvSpPr>
          <p:nvPr>
            <p:ph type="title" hasCustomPrompt="1"/>
          </p:nvPr>
        </p:nvSpPr>
        <p:spPr/>
        <p:txBody>
          <a:bodyPr/>
          <a:lstStyle/>
          <a:p>
            <a:r>
              <a:rPr lang="da-DK"/>
              <a:t>Klik for at redigere titeltypografien i masteren</a:t>
            </a:r>
          </a:p>
        </p:txBody>
      </p:sp>
      <p:sp>
        <p:nvSpPr>
          <p:cNvPr id="4" name="Date Placeholder 3">
            <a:extLst>
              <a:ext uri="{FF2B5EF4-FFF2-40B4-BE49-F238E27FC236}">
                <a16:creationId xmlns:a16="http://schemas.microsoft.com/office/drawing/2014/main" id="{366E6BCD-F967-E310-F398-C32E844479A9}"/>
              </a:ext>
            </a:extLst>
          </p:cNvPr>
          <p:cNvSpPr>
            <a:spLocks noGrp="1"/>
          </p:cNvSpPr>
          <p:nvPr>
            <p:ph type="dt" sz="half" idx="10"/>
          </p:nvPr>
        </p:nvSpPr>
        <p:spPr/>
        <p:txBody>
          <a:bodyPr/>
          <a:lstStyle/>
          <a:p>
            <a:fld id="{DF09D3B9-83C9-4FF9-82E3-3F433A67E736}" type="datetime1">
              <a:rPr lang="da-DK" smtClean="0"/>
              <a:t>16-09-2025</a:t>
            </a:fld>
            <a:endParaRPr lang="da-DK"/>
          </a:p>
        </p:txBody>
      </p:sp>
      <p:sp>
        <p:nvSpPr>
          <p:cNvPr id="5" name="Footer Placeholder 4">
            <a:extLst>
              <a:ext uri="{FF2B5EF4-FFF2-40B4-BE49-F238E27FC236}">
                <a16:creationId xmlns:a16="http://schemas.microsoft.com/office/drawing/2014/main" id="{34C9C08A-76F1-C8FF-BB02-51F8CA06D724}"/>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AA7759-5896-B6F1-0C37-59C847084B39}"/>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11" name="Text Placeholder 10">
            <a:extLst>
              <a:ext uri="{FF2B5EF4-FFF2-40B4-BE49-F238E27FC236}">
                <a16:creationId xmlns:a16="http://schemas.microsoft.com/office/drawing/2014/main" id="{6375B8A8-C72F-43C8-21A3-E4DA5EE2A690}"/>
              </a:ext>
            </a:extLst>
          </p:cNvPr>
          <p:cNvSpPr>
            <a:spLocks noGrp="1"/>
          </p:cNvSpPr>
          <p:nvPr>
            <p:ph type="body" sz="quarter" idx="13" hasCustomPrompt="1"/>
          </p:nvPr>
        </p:nvSpPr>
        <p:spPr>
          <a:xfrm>
            <a:off x="414338" y="1538288"/>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12" name="Text Placeholder 10">
            <a:extLst>
              <a:ext uri="{FF2B5EF4-FFF2-40B4-BE49-F238E27FC236}">
                <a16:creationId xmlns:a16="http://schemas.microsoft.com/office/drawing/2014/main" id="{71A3FCE1-ADBF-CC2C-0B1B-34C37AF1AEAC}"/>
              </a:ext>
            </a:extLst>
          </p:cNvPr>
          <p:cNvSpPr>
            <a:spLocks noGrp="1"/>
          </p:cNvSpPr>
          <p:nvPr>
            <p:ph type="body" sz="quarter" idx="14" hasCustomPrompt="1"/>
          </p:nvPr>
        </p:nvSpPr>
        <p:spPr>
          <a:xfrm>
            <a:off x="1246188" y="1538288"/>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13" name="Text Placeholder 10">
            <a:extLst>
              <a:ext uri="{FF2B5EF4-FFF2-40B4-BE49-F238E27FC236}">
                <a16:creationId xmlns:a16="http://schemas.microsoft.com/office/drawing/2014/main" id="{1014131A-1908-499C-25E8-082C282559AE}"/>
              </a:ext>
            </a:extLst>
          </p:cNvPr>
          <p:cNvSpPr>
            <a:spLocks noGrp="1"/>
          </p:cNvSpPr>
          <p:nvPr>
            <p:ph type="body" sz="quarter" idx="15" hasCustomPrompt="1"/>
          </p:nvPr>
        </p:nvSpPr>
        <p:spPr>
          <a:xfrm>
            <a:off x="414338" y="1956753"/>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7" name="Text Placeholder 10">
            <a:extLst>
              <a:ext uri="{FF2B5EF4-FFF2-40B4-BE49-F238E27FC236}">
                <a16:creationId xmlns:a16="http://schemas.microsoft.com/office/drawing/2014/main" id="{2A7BC332-2FA7-F1A3-09E3-C341D8745667}"/>
              </a:ext>
            </a:extLst>
          </p:cNvPr>
          <p:cNvSpPr>
            <a:spLocks noGrp="1"/>
          </p:cNvSpPr>
          <p:nvPr>
            <p:ph type="body" sz="quarter" idx="16" hasCustomPrompt="1"/>
          </p:nvPr>
        </p:nvSpPr>
        <p:spPr>
          <a:xfrm>
            <a:off x="6232525" y="1538288"/>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8" name="Text Placeholder 10">
            <a:extLst>
              <a:ext uri="{FF2B5EF4-FFF2-40B4-BE49-F238E27FC236}">
                <a16:creationId xmlns:a16="http://schemas.microsoft.com/office/drawing/2014/main" id="{42AF2EC7-B01A-38A9-8C46-D34E8D9D8673}"/>
              </a:ext>
            </a:extLst>
          </p:cNvPr>
          <p:cNvSpPr>
            <a:spLocks noGrp="1"/>
          </p:cNvSpPr>
          <p:nvPr>
            <p:ph type="body" sz="quarter" idx="17" hasCustomPrompt="1"/>
          </p:nvPr>
        </p:nvSpPr>
        <p:spPr>
          <a:xfrm>
            <a:off x="7064375" y="1538288"/>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9" name="Text Placeholder 10">
            <a:extLst>
              <a:ext uri="{FF2B5EF4-FFF2-40B4-BE49-F238E27FC236}">
                <a16:creationId xmlns:a16="http://schemas.microsoft.com/office/drawing/2014/main" id="{696D7500-DA7D-A834-AF45-1DB4737C8AA6}"/>
              </a:ext>
            </a:extLst>
          </p:cNvPr>
          <p:cNvSpPr>
            <a:spLocks noGrp="1"/>
          </p:cNvSpPr>
          <p:nvPr>
            <p:ph type="body" sz="quarter" idx="18" hasCustomPrompt="1"/>
          </p:nvPr>
        </p:nvSpPr>
        <p:spPr>
          <a:xfrm>
            <a:off x="6232525" y="1956753"/>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25" name="Text Placeholder 10">
            <a:extLst>
              <a:ext uri="{FF2B5EF4-FFF2-40B4-BE49-F238E27FC236}">
                <a16:creationId xmlns:a16="http://schemas.microsoft.com/office/drawing/2014/main" id="{CD198459-CA3D-F1B9-857A-FE2CBFD17E95}"/>
              </a:ext>
            </a:extLst>
          </p:cNvPr>
          <p:cNvSpPr>
            <a:spLocks noGrp="1"/>
          </p:cNvSpPr>
          <p:nvPr>
            <p:ph type="body" sz="quarter" idx="19" hasCustomPrompt="1"/>
          </p:nvPr>
        </p:nvSpPr>
        <p:spPr>
          <a:xfrm>
            <a:off x="414338" y="2517775"/>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26" name="Text Placeholder 10">
            <a:extLst>
              <a:ext uri="{FF2B5EF4-FFF2-40B4-BE49-F238E27FC236}">
                <a16:creationId xmlns:a16="http://schemas.microsoft.com/office/drawing/2014/main" id="{552CA2D2-3D50-84DB-50BF-020B1295E057}"/>
              </a:ext>
            </a:extLst>
          </p:cNvPr>
          <p:cNvSpPr>
            <a:spLocks noGrp="1"/>
          </p:cNvSpPr>
          <p:nvPr>
            <p:ph type="body" sz="quarter" idx="20" hasCustomPrompt="1"/>
          </p:nvPr>
        </p:nvSpPr>
        <p:spPr>
          <a:xfrm>
            <a:off x="1246188" y="2517775"/>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27" name="Text Placeholder 10">
            <a:extLst>
              <a:ext uri="{FF2B5EF4-FFF2-40B4-BE49-F238E27FC236}">
                <a16:creationId xmlns:a16="http://schemas.microsoft.com/office/drawing/2014/main" id="{81C2CE5B-E309-F041-C31C-98F18DA2E6D3}"/>
              </a:ext>
            </a:extLst>
          </p:cNvPr>
          <p:cNvSpPr>
            <a:spLocks noGrp="1"/>
          </p:cNvSpPr>
          <p:nvPr>
            <p:ph type="body" sz="quarter" idx="21" hasCustomPrompt="1"/>
          </p:nvPr>
        </p:nvSpPr>
        <p:spPr>
          <a:xfrm>
            <a:off x="414338" y="2936240"/>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28" name="Text Placeholder 10">
            <a:extLst>
              <a:ext uri="{FF2B5EF4-FFF2-40B4-BE49-F238E27FC236}">
                <a16:creationId xmlns:a16="http://schemas.microsoft.com/office/drawing/2014/main" id="{A913D01E-430B-9F11-9C5A-55450E37BE14}"/>
              </a:ext>
            </a:extLst>
          </p:cNvPr>
          <p:cNvSpPr>
            <a:spLocks noGrp="1"/>
          </p:cNvSpPr>
          <p:nvPr>
            <p:ph type="body" sz="quarter" idx="22" hasCustomPrompt="1"/>
          </p:nvPr>
        </p:nvSpPr>
        <p:spPr>
          <a:xfrm>
            <a:off x="6232525" y="2517775"/>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29" name="Text Placeholder 10">
            <a:extLst>
              <a:ext uri="{FF2B5EF4-FFF2-40B4-BE49-F238E27FC236}">
                <a16:creationId xmlns:a16="http://schemas.microsoft.com/office/drawing/2014/main" id="{5333B725-90CA-25E3-32F5-0EECCDA6FB7C}"/>
              </a:ext>
            </a:extLst>
          </p:cNvPr>
          <p:cNvSpPr>
            <a:spLocks noGrp="1"/>
          </p:cNvSpPr>
          <p:nvPr>
            <p:ph type="body" sz="quarter" idx="23" hasCustomPrompt="1"/>
          </p:nvPr>
        </p:nvSpPr>
        <p:spPr>
          <a:xfrm>
            <a:off x="7064375" y="2517775"/>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30" name="Text Placeholder 10">
            <a:extLst>
              <a:ext uri="{FF2B5EF4-FFF2-40B4-BE49-F238E27FC236}">
                <a16:creationId xmlns:a16="http://schemas.microsoft.com/office/drawing/2014/main" id="{C1B2ED87-62C7-4F16-6B8A-03759F72F441}"/>
              </a:ext>
            </a:extLst>
          </p:cNvPr>
          <p:cNvSpPr>
            <a:spLocks noGrp="1"/>
          </p:cNvSpPr>
          <p:nvPr>
            <p:ph type="body" sz="quarter" idx="24" hasCustomPrompt="1"/>
          </p:nvPr>
        </p:nvSpPr>
        <p:spPr>
          <a:xfrm>
            <a:off x="6232525" y="2936240"/>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31" name="Text Placeholder 10">
            <a:extLst>
              <a:ext uri="{FF2B5EF4-FFF2-40B4-BE49-F238E27FC236}">
                <a16:creationId xmlns:a16="http://schemas.microsoft.com/office/drawing/2014/main" id="{05B34670-3E45-AE0B-5342-CA165683CD11}"/>
              </a:ext>
            </a:extLst>
          </p:cNvPr>
          <p:cNvSpPr>
            <a:spLocks noGrp="1"/>
          </p:cNvSpPr>
          <p:nvPr>
            <p:ph type="body" sz="quarter" idx="25" hasCustomPrompt="1"/>
          </p:nvPr>
        </p:nvSpPr>
        <p:spPr>
          <a:xfrm>
            <a:off x="414338" y="3498850"/>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32" name="Text Placeholder 10">
            <a:extLst>
              <a:ext uri="{FF2B5EF4-FFF2-40B4-BE49-F238E27FC236}">
                <a16:creationId xmlns:a16="http://schemas.microsoft.com/office/drawing/2014/main" id="{4213B1FA-7DEF-F70C-FCBA-E74F51E9AB27}"/>
              </a:ext>
            </a:extLst>
          </p:cNvPr>
          <p:cNvSpPr>
            <a:spLocks noGrp="1"/>
          </p:cNvSpPr>
          <p:nvPr>
            <p:ph type="body" sz="quarter" idx="26" hasCustomPrompt="1"/>
          </p:nvPr>
        </p:nvSpPr>
        <p:spPr>
          <a:xfrm>
            <a:off x="1246188" y="3498850"/>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33" name="Text Placeholder 10">
            <a:extLst>
              <a:ext uri="{FF2B5EF4-FFF2-40B4-BE49-F238E27FC236}">
                <a16:creationId xmlns:a16="http://schemas.microsoft.com/office/drawing/2014/main" id="{72CA03C1-E0FE-0E41-9C6D-21E2FF617A16}"/>
              </a:ext>
            </a:extLst>
          </p:cNvPr>
          <p:cNvSpPr>
            <a:spLocks noGrp="1"/>
          </p:cNvSpPr>
          <p:nvPr>
            <p:ph type="body" sz="quarter" idx="27" hasCustomPrompt="1"/>
          </p:nvPr>
        </p:nvSpPr>
        <p:spPr>
          <a:xfrm>
            <a:off x="414338" y="3917315"/>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40" name="Text Placeholder 10">
            <a:extLst>
              <a:ext uri="{FF2B5EF4-FFF2-40B4-BE49-F238E27FC236}">
                <a16:creationId xmlns:a16="http://schemas.microsoft.com/office/drawing/2014/main" id="{AAED3781-A0B6-CE6C-7DC3-3F2D7F549C8C}"/>
              </a:ext>
            </a:extLst>
          </p:cNvPr>
          <p:cNvSpPr>
            <a:spLocks noGrp="1"/>
          </p:cNvSpPr>
          <p:nvPr>
            <p:ph type="body" sz="quarter" idx="28" hasCustomPrompt="1"/>
          </p:nvPr>
        </p:nvSpPr>
        <p:spPr>
          <a:xfrm>
            <a:off x="6232525" y="3498850"/>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41" name="Text Placeholder 10">
            <a:extLst>
              <a:ext uri="{FF2B5EF4-FFF2-40B4-BE49-F238E27FC236}">
                <a16:creationId xmlns:a16="http://schemas.microsoft.com/office/drawing/2014/main" id="{1EEE46EE-855C-5EE3-E945-D3B737984F37}"/>
              </a:ext>
            </a:extLst>
          </p:cNvPr>
          <p:cNvSpPr>
            <a:spLocks noGrp="1"/>
          </p:cNvSpPr>
          <p:nvPr>
            <p:ph type="body" sz="quarter" idx="29" hasCustomPrompt="1"/>
          </p:nvPr>
        </p:nvSpPr>
        <p:spPr>
          <a:xfrm>
            <a:off x="7064375" y="3498850"/>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42" name="Text Placeholder 10">
            <a:extLst>
              <a:ext uri="{FF2B5EF4-FFF2-40B4-BE49-F238E27FC236}">
                <a16:creationId xmlns:a16="http://schemas.microsoft.com/office/drawing/2014/main" id="{C28B688E-4DE7-8342-DF5C-95265A69B458}"/>
              </a:ext>
            </a:extLst>
          </p:cNvPr>
          <p:cNvSpPr>
            <a:spLocks noGrp="1"/>
          </p:cNvSpPr>
          <p:nvPr>
            <p:ph type="body" sz="quarter" idx="30" hasCustomPrompt="1"/>
          </p:nvPr>
        </p:nvSpPr>
        <p:spPr>
          <a:xfrm>
            <a:off x="6232525" y="3917315"/>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43" name="Text Placeholder 10">
            <a:extLst>
              <a:ext uri="{FF2B5EF4-FFF2-40B4-BE49-F238E27FC236}">
                <a16:creationId xmlns:a16="http://schemas.microsoft.com/office/drawing/2014/main" id="{A4837B86-41C8-AB5C-2675-FBD75158BA5C}"/>
              </a:ext>
            </a:extLst>
          </p:cNvPr>
          <p:cNvSpPr>
            <a:spLocks noGrp="1"/>
          </p:cNvSpPr>
          <p:nvPr>
            <p:ph type="body" sz="quarter" idx="31" hasCustomPrompt="1"/>
          </p:nvPr>
        </p:nvSpPr>
        <p:spPr>
          <a:xfrm>
            <a:off x="414338" y="4478338"/>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44" name="Text Placeholder 10">
            <a:extLst>
              <a:ext uri="{FF2B5EF4-FFF2-40B4-BE49-F238E27FC236}">
                <a16:creationId xmlns:a16="http://schemas.microsoft.com/office/drawing/2014/main" id="{AAF3AAF7-0DAB-24EA-7626-ADAABC4F6EEE}"/>
              </a:ext>
            </a:extLst>
          </p:cNvPr>
          <p:cNvSpPr>
            <a:spLocks noGrp="1"/>
          </p:cNvSpPr>
          <p:nvPr>
            <p:ph type="body" sz="quarter" idx="32" hasCustomPrompt="1"/>
          </p:nvPr>
        </p:nvSpPr>
        <p:spPr>
          <a:xfrm>
            <a:off x="1246188" y="4478338"/>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45" name="Text Placeholder 10">
            <a:extLst>
              <a:ext uri="{FF2B5EF4-FFF2-40B4-BE49-F238E27FC236}">
                <a16:creationId xmlns:a16="http://schemas.microsoft.com/office/drawing/2014/main" id="{ACE17940-A783-9C4D-1E41-D345143F94C7}"/>
              </a:ext>
            </a:extLst>
          </p:cNvPr>
          <p:cNvSpPr>
            <a:spLocks noGrp="1"/>
          </p:cNvSpPr>
          <p:nvPr>
            <p:ph type="body" sz="quarter" idx="33" hasCustomPrompt="1"/>
          </p:nvPr>
        </p:nvSpPr>
        <p:spPr>
          <a:xfrm>
            <a:off x="414338" y="4896803"/>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46" name="Text Placeholder 10">
            <a:extLst>
              <a:ext uri="{FF2B5EF4-FFF2-40B4-BE49-F238E27FC236}">
                <a16:creationId xmlns:a16="http://schemas.microsoft.com/office/drawing/2014/main" id="{79F90DB9-40F3-A4D8-3667-9046C1C323EC}"/>
              </a:ext>
            </a:extLst>
          </p:cNvPr>
          <p:cNvSpPr>
            <a:spLocks noGrp="1"/>
          </p:cNvSpPr>
          <p:nvPr>
            <p:ph type="body" sz="quarter" idx="34" hasCustomPrompt="1"/>
          </p:nvPr>
        </p:nvSpPr>
        <p:spPr>
          <a:xfrm>
            <a:off x="6232525" y="4478338"/>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47" name="Text Placeholder 10">
            <a:extLst>
              <a:ext uri="{FF2B5EF4-FFF2-40B4-BE49-F238E27FC236}">
                <a16:creationId xmlns:a16="http://schemas.microsoft.com/office/drawing/2014/main" id="{5B1748D5-635C-A876-74ED-5337661C20A2}"/>
              </a:ext>
            </a:extLst>
          </p:cNvPr>
          <p:cNvSpPr>
            <a:spLocks noGrp="1"/>
          </p:cNvSpPr>
          <p:nvPr>
            <p:ph type="body" sz="quarter" idx="35" hasCustomPrompt="1"/>
          </p:nvPr>
        </p:nvSpPr>
        <p:spPr>
          <a:xfrm>
            <a:off x="7064375" y="4478338"/>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48" name="Text Placeholder 10">
            <a:extLst>
              <a:ext uri="{FF2B5EF4-FFF2-40B4-BE49-F238E27FC236}">
                <a16:creationId xmlns:a16="http://schemas.microsoft.com/office/drawing/2014/main" id="{F4671A07-6B4A-D052-BF3B-D014DA746981}"/>
              </a:ext>
            </a:extLst>
          </p:cNvPr>
          <p:cNvSpPr>
            <a:spLocks noGrp="1"/>
          </p:cNvSpPr>
          <p:nvPr>
            <p:ph type="body" sz="quarter" idx="36" hasCustomPrompt="1"/>
          </p:nvPr>
        </p:nvSpPr>
        <p:spPr>
          <a:xfrm>
            <a:off x="6232525" y="4896803"/>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56" name="Text Placeholder 10">
            <a:extLst>
              <a:ext uri="{FF2B5EF4-FFF2-40B4-BE49-F238E27FC236}">
                <a16:creationId xmlns:a16="http://schemas.microsoft.com/office/drawing/2014/main" id="{AA1B1338-7AB2-28B2-CE61-42AB9F6E7E45}"/>
              </a:ext>
            </a:extLst>
          </p:cNvPr>
          <p:cNvSpPr>
            <a:spLocks noGrp="1"/>
          </p:cNvSpPr>
          <p:nvPr>
            <p:ph type="body" sz="quarter" idx="37" hasCustomPrompt="1"/>
          </p:nvPr>
        </p:nvSpPr>
        <p:spPr>
          <a:xfrm>
            <a:off x="414338" y="5457825"/>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57" name="Text Placeholder 10">
            <a:extLst>
              <a:ext uri="{FF2B5EF4-FFF2-40B4-BE49-F238E27FC236}">
                <a16:creationId xmlns:a16="http://schemas.microsoft.com/office/drawing/2014/main" id="{CBC3BA55-9CAE-931A-CA5F-B8556887571E}"/>
              </a:ext>
            </a:extLst>
          </p:cNvPr>
          <p:cNvSpPr>
            <a:spLocks noGrp="1"/>
          </p:cNvSpPr>
          <p:nvPr>
            <p:ph type="body" sz="quarter" idx="38" hasCustomPrompt="1"/>
          </p:nvPr>
        </p:nvSpPr>
        <p:spPr>
          <a:xfrm>
            <a:off x="1246188" y="5457825"/>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58" name="Text Placeholder 10">
            <a:extLst>
              <a:ext uri="{FF2B5EF4-FFF2-40B4-BE49-F238E27FC236}">
                <a16:creationId xmlns:a16="http://schemas.microsoft.com/office/drawing/2014/main" id="{CB3C9DA4-E7D8-7A16-640E-32690CDB0991}"/>
              </a:ext>
            </a:extLst>
          </p:cNvPr>
          <p:cNvSpPr>
            <a:spLocks noGrp="1"/>
          </p:cNvSpPr>
          <p:nvPr>
            <p:ph type="body" sz="quarter" idx="39" hasCustomPrompt="1"/>
          </p:nvPr>
        </p:nvSpPr>
        <p:spPr>
          <a:xfrm>
            <a:off x="414338" y="5876290"/>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
        <p:nvSpPr>
          <p:cNvPr id="59" name="Text Placeholder 10">
            <a:extLst>
              <a:ext uri="{FF2B5EF4-FFF2-40B4-BE49-F238E27FC236}">
                <a16:creationId xmlns:a16="http://schemas.microsoft.com/office/drawing/2014/main" id="{6F706B84-9AA8-DE8D-58A5-66F3DB430B87}"/>
              </a:ext>
            </a:extLst>
          </p:cNvPr>
          <p:cNvSpPr>
            <a:spLocks noGrp="1"/>
          </p:cNvSpPr>
          <p:nvPr>
            <p:ph type="body" sz="quarter" idx="40" hasCustomPrompt="1"/>
          </p:nvPr>
        </p:nvSpPr>
        <p:spPr>
          <a:xfrm>
            <a:off x="6232525" y="5457825"/>
            <a:ext cx="831850" cy="419100"/>
          </a:xfrm>
          <a:blipFill>
            <a:blip r:embed="rId2">
              <a:extLst>
                <a:ext uri="{96DAC541-7B7A-43D3-8B79-37D633B846F1}">
                  <asvg:svgBlip xmlns:asvg="http://schemas.microsoft.com/office/drawing/2016/SVG/main" r:embed="rId3"/>
                </a:ext>
              </a:extLst>
            </a:blip>
            <a:stretch>
              <a:fillRect t="-44488" b="-44488"/>
            </a:stretch>
          </a:blipFill>
        </p:spPr>
        <p:txBody>
          <a:bodyPr lIns="144000" anchor="ctr"/>
          <a:lstStyle>
            <a:lvl1pPr>
              <a:defRPr>
                <a:solidFill>
                  <a:srgbClr val="AB2026"/>
                </a:solidFill>
              </a:defRPr>
            </a:lvl1pPr>
          </a:lstStyle>
          <a:p>
            <a:pPr lvl="0"/>
            <a:r>
              <a:rPr lang="da-DK"/>
              <a:t>XX:XX</a:t>
            </a:r>
          </a:p>
        </p:txBody>
      </p:sp>
      <p:sp>
        <p:nvSpPr>
          <p:cNvPr id="60" name="Text Placeholder 10">
            <a:extLst>
              <a:ext uri="{FF2B5EF4-FFF2-40B4-BE49-F238E27FC236}">
                <a16:creationId xmlns:a16="http://schemas.microsoft.com/office/drawing/2014/main" id="{8B9A91E2-2BF6-7A4D-450E-C65593E49A06}"/>
              </a:ext>
            </a:extLst>
          </p:cNvPr>
          <p:cNvSpPr>
            <a:spLocks noGrp="1"/>
          </p:cNvSpPr>
          <p:nvPr>
            <p:ph type="body" sz="quarter" idx="41" hasCustomPrompt="1"/>
          </p:nvPr>
        </p:nvSpPr>
        <p:spPr>
          <a:xfrm>
            <a:off x="7064375" y="5457825"/>
            <a:ext cx="4710112" cy="419100"/>
          </a:xfrm>
        </p:spPr>
        <p:txBody>
          <a:bodyPr lIns="144000" anchor="ctr"/>
          <a:lstStyle>
            <a:lvl1pPr>
              <a:defRPr b="0">
                <a:solidFill>
                  <a:schemeClr val="tx2"/>
                </a:solidFill>
                <a:latin typeface="IBM Plex Sans Medium" panose="020B0603050203000203" pitchFamily="34" charset="0"/>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Indhold, emne</a:t>
            </a:r>
          </a:p>
        </p:txBody>
      </p:sp>
      <p:sp>
        <p:nvSpPr>
          <p:cNvPr id="61" name="Text Placeholder 10">
            <a:extLst>
              <a:ext uri="{FF2B5EF4-FFF2-40B4-BE49-F238E27FC236}">
                <a16:creationId xmlns:a16="http://schemas.microsoft.com/office/drawing/2014/main" id="{EE3C840A-5046-305A-D59A-A81269FDA511}"/>
              </a:ext>
            </a:extLst>
          </p:cNvPr>
          <p:cNvSpPr>
            <a:spLocks noGrp="1"/>
          </p:cNvSpPr>
          <p:nvPr>
            <p:ph type="body" sz="quarter" idx="42" hasCustomPrompt="1"/>
          </p:nvPr>
        </p:nvSpPr>
        <p:spPr>
          <a:xfrm>
            <a:off x="6232525" y="5876290"/>
            <a:ext cx="5541962" cy="421323"/>
          </a:xfrm>
          <a:blipFill>
            <a:blip r:embed="rId4">
              <a:extLst>
                <a:ext uri="{96DAC541-7B7A-43D3-8B79-37D633B846F1}">
                  <asvg:svgBlip xmlns:asvg="http://schemas.microsoft.com/office/drawing/2016/SVG/main" r:embed="rId5"/>
                </a:ext>
              </a:extLst>
            </a:blip>
            <a:stretch>
              <a:fillRect/>
            </a:stretch>
          </a:blipFill>
        </p:spPr>
        <p:txBody>
          <a:bodyPr lIns="144000" tIns="86400" anchor="t" anchorCtr="0"/>
          <a:lstStyle>
            <a:lvl1pPr>
              <a:defRPr sz="1400">
                <a:solidFill>
                  <a:schemeClr val="tx2"/>
                </a:solidFill>
                <a:latin typeface="+mj-lt"/>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lang="da-DK" sz="1600">
                <a:solidFill>
                  <a:schemeClr val="tx2"/>
                </a:solidFill>
              </a:rPr>
              <a:t>Taler</a:t>
            </a:r>
          </a:p>
        </p:txBody>
      </p:sp>
    </p:spTree>
    <p:extLst>
      <p:ext uri="{BB962C8B-B14F-4D97-AF65-F5344CB8AC3E}">
        <p14:creationId xmlns:p14="http://schemas.microsoft.com/office/powerpoint/2010/main" val="2553592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6"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a:t>Klik for at tilføje tekst</a:t>
            </a:r>
          </a:p>
        </p:txBody>
      </p:sp>
      <p:sp>
        <p:nvSpPr>
          <p:cNvPr id="9" name="Shape 9"/>
          <p:cNvSpPr/>
          <p:nvPr/>
        </p:nvSpPr>
        <p:spPr>
          <a:xfrm rot="16200000">
            <a:off x="6917128" y="3441526"/>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0" name="Shape 10"/>
          <p:cNvSpPr>
            <a:spLocks noGrp="1"/>
          </p:cNvSpPr>
          <p:nvPr>
            <p:ph type="title" hasCustomPrompt="1"/>
          </p:nvPr>
        </p:nvSpPr>
        <p:spPr>
          <a:xfrm>
            <a:off x="476250" y="2560596"/>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a:solidFill>
                  <a:srgbClr val="B3242A"/>
                </a:solidFill>
              </a:rPr>
              <a:t>Klik for at tilføje tekst</a:t>
            </a:r>
            <a:endParaRPr sz="490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a:solidFill>
                  <a:srgbClr val="414141"/>
                </a:solidFill>
              </a:rPr>
              <a:t>Klik for at tilføje tekst</a:t>
            </a:r>
          </a:p>
        </p:txBody>
      </p:sp>
      <p:sp>
        <p:nvSpPr>
          <p:cNvPr id="12" name="Shape 7"/>
          <p:cNvSpPr/>
          <p:nvPr/>
        </p:nvSpPr>
        <p:spPr>
          <a:xfrm>
            <a:off x="476251"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7" name="Shape 8"/>
          <p:cNvSpPr/>
          <p:nvPr/>
        </p:nvSpPr>
        <p:spPr>
          <a:xfrm>
            <a:off x="476252"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14"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29172358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Breaker slide 1">
    <p:bg>
      <p:bgPr>
        <a:solidFill>
          <a:srgbClr val="DEE2E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749C3-084C-BACF-1975-59401756544A}"/>
              </a:ext>
            </a:extLst>
          </p:cNvPr>
          <p:cNvSpPr>
            <a:spLocks noGrp="1"/>
          </p:cNvSpPr>
          <p:nvPr>
            <p:ph type="title" hasCustomPrompt="1"/>
          </p:nvPr>
        </p:nvSpPr>
        <p:spPr>
          <a:xfrm>
            <a:off x="831850" y="1677989"/>
            <a:ext cx="8034338" cy="2660649"/>
          </a:xfrm>
        </p:spPr>
        <p:txBody>
          <a:bodyPr anchor="b"/>
          <a:lstStyle>
            <a:lvl1pPr>
              <a:defRPr sz="4200"/>
            </a:lvl1pPr>
          </a:lstStyle>
          <a:p>
            <a:r>
              <a:rPr lang="da-DK"/>
              <a:t>Klik for at redigere titeltypografien i masteren</a:t>
            </a:r>
          </a:p>
        </p:txBody>
      </p:sp>
      <p:sp>
        <p:nvSpPr>
          <p:cNvPr id="3" name="Text Placeholder 2">
            <a:extLst>
              <a:ext uri="{FF2B5EF4-FFF2-40B4-BE49-F238E27FC236}">
                <a16:creationId xmlns:a16="http://schemas.microsoft.com/office/drawing/2014/main" id="{3493059B-3369-762F-D534-675CF1BF189B}"/>
              </a:ext>
            </a:extLst>
          </p:cNvPr>
          <p:cNvSpPr>
            <a:spLocks noGrp="1"/>
          </p:cNvSpPr>
          <p:nvPr>
            <p:ph type="body" idx="1" hasCustomPrompt="1"/>
          </p:nvPr>
        </p:nvSpPr>
        <p:spPr>
          <a:xfrm>
            <a:off x="831850" y="4671753"/>
            <a:ext cx="8034338" cy="1486160"/>
          </a:xfrm>
          <a:prstGeom prst="rect">
            <a:avLst/>
          </a:prstGeom>
        </p:spPr>
        <p:txBody>
          <a:bodyPr/>
          <a:lstStyle>
            <a:lvl1pPr marL="0" indent="0">
              <a:buNone/>
              <a:defRPr sz="18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7" name="Pladsholder til dato 6">
            <a:extLst>
              <a:ext uri="{FF2B5EF4-FFF2-40B4-BE49-F238E27FC236}">
                <a16:creationId xmlns:a16="http://schemas.microsoft.com/office/drawing/2014/main" id="{A1423DDA-0B17-748A-78BE-08AB5CEDF5AC}"/>
              </a:ext>
            </a:extLst>
          </p:cNvPr>
          <p:cNvSpPr>
            <a:spLocks noGrp="1"/>
          </p:cNvSpPr>
          <p:nvPr>
            <p:ph type="dt" sz="half" idx="10"/>
          </p:nvPr>
        </p:nvSpPr>
        <p:spPr/>
        <p:txBody>
          <a:bodyPr/>
          <a:lstStyle/>
          <a:p>
            <a:fld id="{FDFC6D1B-07D9-415D-A55C-DE2481AD3AD3}" type="datetime1">
              <a:rPr lang="da-DK" smtClean="0"/>
              <a:t>16-09-2025</a:t>
            </a:fld>
            <a:endParaRPr lang="da-DK"/>
          </a:p>
        </p:txBody>
      </p:sp>
      <p:sp>
        <p:nvSpPr>
          <p:cNvPr id="8" name="Pladsholder til sidefod 7">
            <a:extLst>
              <a:ext uri="{FF2B5EF4-FFF2-40B4-BE49-F238E27FC236}">
                <a16:creationId xmlns:a16="http://schemas.microsoft.com/office/drawing/2014/main" id="{DD45AC2B-3291-2312-718D-8A98C4C4069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B5BAD8DC-742C-518C-5A53-0D4108FBCEA0}"/>
              </a:ext>
            </a:extLst>
          </p:cNvPr>
          <p:cNvSpPr>
            <a:spLocks noGrp="1"/>
          </p:cNvSpPr>
          <p:nvPr>
            <p:ph type="sldNum" sz="quarter" idx="12"/>
          </p:nvPr>
        </p:nvSpPr>
        <p:spPr/>
        <p:txBody>
          <a:bodyPr/>
          <a:lstStyle/>
          <a:p>
            <a:fld id="{0E8862F4-759C-4937-98C7-CDEB1EE77131}" type="slidenum">
              <a:rPr lang="da-DK" smtClean="0"/>
              <a:pPr/>
              <a:t>‹nr.›</a:t>
            </a:fld>
            <a:endParaRPr lang="da-DK"/>
          </a:p>
        </p:txBody>
      </p:sp>
    </p:spTree>
    <p:extLst>
      <p:ext uri="{BB962C8B-B14F-4D97-AF65-F5344CB8AC3E}">
        <p14:creationId xmlns:p14="http://schemas.microsoft.com/office/powerpoint/2010/main" val="2346358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 slide 2">
    <p:bg>
      <p:bgPr>
        <a:solidFill>
          <a:srgbClr val="A4B2B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749C3-084C-BACF-1975-59401756544A}"/>
              </a:ext>
            </a:extLst>
          </p:cNvPr>
          <p:cNvSpPr>
            <a:spLocks noGrp="1"/>
          </p:cNvSpPr>
          <p:nvPr>
            <p:ph type="title" hasCustomPrompt="1"/>
          </p:nvPr>
        </p:nvSpPr>
        <p:spPr>
          <a:xfrm>
            <a:off x="831850" y="1677989"/>
            <a:ext cx="8034338" cy="2660649"/>
          </a:xfrm>
        </p:spPr>
        <p:txBody>
          <a:bodyPr anchor="b"/>
          <a:lstStyle>
            <a:lvl1pPr>
              <a:defRPr sz="4200"/>
            </a:lvl1pPr>
          </a:lstStyle>
          <a:p>
            <a:r>
              <a:rPr lang="da-DK"/>
              <a:t>Klik for at redigere titeltypografien i masteren</a:t>
            </a:r>
          </a:p>
        </p:txBody>
      </p:sp>
      <p:sp>
        <p:nvSpPr>
          <p:cNvPr id="7" name="Pladsholder til dato 6">
            <a:extLst>
              <a:ext uri="{FF2B5EF4-FFF2-40B4-BE49-F238E27FC236}">
                <a16:creationId xmlns:a16="http://schemas.microsoft.com/office/drawing/2014/main" id="{A1423DDA-0B17-748A-78BE-08AB5CEDF5AC}"/>
              </a:ext>
            </a:extLst>
          </p:cNvPr>
          <p:cNvSpPr>
            <a:spLocks noGrp="1"/>
          </p:cNvSpPr>
          <p:nvPr>
            <p:ph type="dt" sz="half" idx="10"/>
          </p:nvPr>
        </p:nvSpPr>
        <p:spPr/>
        <p:txBody>
          <a:bodyPr/>
          <a:lstStyle/>
          <a:p>
            <a:fld id="{EF3A2B88-988D-46F1-926C-C8EC226CB2C1}" type="datetime1">
              <a:rPr lang="da-DK" smtClean="0"/>
              <a:t>16-09-2025</a:t>
            </a:fld>
            <a:endParaRPr lang="da-DK"/>
          </a:p>
        </p:txBody>
      </p:sp>
      <p:sp>
        <p:nvSpPr>
          <p:cNvPr id="8" name="Pladsholder til sidefod 7">
            <a:extLst>
              <a:ext uri="{FF2B5EF4-FFF2-40B4-BE49-F238E27FC236}">
                <a16:creationId xmlns:a16="http://schemas.microsoft.com/office/drawing/2014/main" id="{DD45AC2B-3291-2312-718D-8A98C4C4069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B5BAD8DC-742C-518C-5A53-0D4108FBCEA0}"/>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4" name="Text Placeholder 2">
            <a:extLst>
              <a:ext uri="{FF2B5EF4-FFF2-40B4-BE49-F238E27FC236}">
                <a16:creationId xmlns:a16="http://schemas.microsoft.com/office/drawing/2014/main" id="{43C825B3-AB94-0172-ECAF-43161A2E67C6}"/>
              </a:ext>
            </a:extLst>
          </p:cNvPr>
          <p:cNvSpPr>
            <a:spLocks noGrp="1"/>
          </p:cNvSpPr>
          <p:nvPr>
            <p:ph type="body" idx="1" hasCustomPrompt="1"/>
          </p:nvPr>
        </p:nvSpPr>
        <p:spPr>
          <a:xfrm>
            <a:off x="831850" y="4671753"/>
            <a:ext cx="8034338" cy="1486160"/>
          </a:xfrm>
          <a:prstGeom prst="rect">
            <a:avLst/>
          </a:prstGeom>
        </p:spPr>
        <p:txBody>
          <a:bodyPr/>
          <a:lstStyle>
            <a:lvl1pPr marL="0" indent="0">
              <a:buNone/>
              <a:defRPr sz="18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Tree>
    <p:extLst>
      <p:ext uri="{BB962C8B-B14F-4D97-AF65-F5344CB8AC3E}">
        <p14:creationId xmlns:p14="http://schemas.microsoft.com/office/powerpoint/2010/main" val="17922845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reaker slide 3">
    <p:bg>
      <p:bgPr>
        <a:solidFill>
          <a:srgbClr val="AB202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749C3-084C-BACF-1975-59401756544A}"/>
              </a:ext>
            </a:extLst>
          </p:cNvPr>
          <p:cNvSpPr>
            <a:spLocks noGrp="1"/>
          </p:cNvSpPr>
          <p:nvPr>
            <p:ph type="title" hasCustomPrompt="1"/>
          </p:nvPr>
        </p:nvSpPr>
        <p:spPr>
          <a:xfrm>
            <a:off x="831850" y="1677989"/>
            <a:ext cx="8034338" cy="2660649"/>
          </a:xfrm>
        </p:spPr>
        <p:txBody>
          <a:bodyPr anchor="b"/>
          <a:lstStyle>
            <a:lvl1pPr>
              <a:defRPr sz="4200">
                <a:solidFill>
                  <a:schemeClr val="bg1"/>
                </a:solidFill>
              </a:defRPr>
            </a:lvl1pPr>
          </a:lstStyle>
          <a:p>
            <a:r>
              <a:rPr lang="da-DK"/>
              <a:t>Klik for at redigere titeltypografien i masteren</a:t>
            </a:r>
          </a:p>
        </p:txBody>
      </p:sp>
      <p:sp>
        <p:nvSpPr>
          <p:cNvPr id="7" name="Pladsholder til dato 6">
            <a:extLst>
              <a:ext uri="{FF2B5EF4-FFF2-40B4-BE49-F238E27FC236}">
                <a16:creationId xmlns:a16="http://schemas.microsoft.com/office/drawing/2014/main" id="{A1423DDA-0B17-748A-78BE-08AB5CEDF5AC}"/>
              </a:ext>
            </a:extLst>
          </p:cNvPr>
          <p:cNvSpPr>
            <a:spLocks noGrp="1"/>
          </p:cNvSpPr>
          <p:nvPr>
            <p:ph type="dt" sz="half" idx="10"/>
          </p:nvPr>
        </p:nvSpPr>
        <p:spPr/>
        <p:txBody>
          <a:bodyPr/>
          <a:lstStyle/>
          <a:p>
            <a:fld id="{3FC7814C-EE9E-4709-8760-62D5B6D0350B}" type="datetime1">
              <a:rPr lang="da-DK" smtClean="0"/>
              <a:t>16-09-2025</a:t>
            </a:fld>
            <a:endParaRPr lang="da-DK"/>
          </a:p>
        </p:txBody>
      </p:sp>
      <p:sp>
        <p:nvSpPr>
          <p:cNvPr id="8" name="Pladsholder til sidefod 7">
            <a:extLst>
              <a:ext uri="{FF2B5EF4-FFF2-40B4-BE49-F238E27FC236}">
                <a16:creationId xmlns:a16="http://schemas.microsoft.com/office/drawing/2014/main" id="{DD45AC2B-3291-2312-718D-8A98C4C4069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B5BAD8DC-742C-518C-5A53-0D4108FBCEA0}"/>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4" name="Text Placeholder 2">
            <a:extLst>
              <a:ext uri="{FF2B5EF4-FFF2-40B4-BE49-F238E27FC236}">
                <a16:creationId xmlns:a16="http://schemas.microsoft.com/office/drawing/2014/main" id="{55201C48-4BC4-18E7-1327-7D4595164E78}"/>
              </a:ext>
            </a:extLst>
          </p:cNvPr>
          <p:cNvSpPr>
            <a:spLocks noGrp="1"/>
          </p:cNvSpPr>
          <p:nvPr>
            <p:ph type="body" idx="1" hasCustomPrompt="1"/>
          </p:nvPr>
        </p:nvSpPr>
        <p:spPr>
          <a:xfrm>
            <a:off x="831850" y="4671753"/>
            <a:ext cx="8034338" cy="1486160"/>
          </a:xfrm>
          <a:prstGeom prst="rect">
            <a:avLst/>
          </a:prstGeom>
        </p:spPr>
        <p:txBody>
          <a:bodyPr/>
          <a:lstStyle>
            <a:lvl1pPr marL="0" indent="0">
              <a:buNone/>
              <a:defRPr sz="18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Tree>
    <p:extLst>
      <p:ext uri="{BB962C8B-B14F-4D97-AF65-F5344CB8AC3E}">
        <p14:creationId xmlns:p14="http://schemas.microsoft.com/office/powerpoint/2010/main" val="27974676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7D6D0-103E-8295-89D9-10032540A0F9}"/>
              </a:ext>
            </a:extLst>
          </p:cNvPr>
          <p:cNvSpPr>
            <a:spLocks noGrp="1"/>
          </p:cNvSpPr>
          <p:nvPr>
            <p:ph type="title" hasCustomPrompt="1"/>
          </p:nvPr>
        </p:nvSpPr>
        <p:spPr/>
        <p:txBody>
          <a:bodyPr/>
          <a:lstStyle/>
          <a:p>
            <a:r>
              <a:rPr lang="da-DK"/>
              <a:t>Klik for at redigere titeltypografien i masteren</a:t>
            </a:r>
          </a:p>
        </p:txBody>
      </p:sp>
      <p:sp>
        <p:nvSpPr>
          <p:cNvPr id="4" name="Date Placeholder 3">
            <a:extLst>
              <a:ext uri="{FF2B5EF4-FFF2-40B4-BE49-F238E27FC236}">
                <a16:creationId xmlns:a16="http://schemas.microsoft.com/office/drawing/2014/main" id="{366E6BCD-F967-E310-F398-C32E844479A9}"/>
              </a:ext>
            </a:extLst>
          </p:cNvPr>
          <p:cNvSpPr>
            <a:spLocks noGrp="1"/>
          </p:cNvSpPr>
          <p:nvPr>
            <p:ph type="dt" sz="half" idx="10"/>
          </p:nvPr>
        </p:nvSpPr>
        <p:spPr/>
        <p:txBody>
          <a:bodyPr/>
          <a:lstStyle/>
          <a:p>
            <a:fld id="{F3EF4D5A-4651-4B9C-924F-A1DBD1BE844D}" type="datetime1">
              <a:rPr lang="da-DK" smtClean="0"/>
              <a:t>16-09-2025</a:t>
            </a:fld>
            <a:endParaRPr lang="da-DK"/>
          </a:p>
        </p:txBody>
      </p:sp>
      <p:sp>
        <p:nvSpPr>
          <p:cNvPr id="5" name="Footer Placeholder 4">
            <a:extLst>
              <a:ext uri="{FF2B5EF4-FFF2-40B4-BE49-F238E27FC236}">
                <a16:creationId xmlns:a16="http://schemas.microsoft.com/office/drawing/2014/main" id="{34C9C08A-76F1-C8FF-BB02-51F8CA06D724}"/>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AA7759-5896-B6F1-0C37-59C847084B39}"/>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7" name="Pladsholder til indhold 6">
            <a:extLst>
              <a:ext uri="{FF2B5EF4-FFF2-40B4-BE49-F238E27FC236}">
                <a16:creationId xmlns:a16="http://schemas.microsoft.com/office/drawing/2014/main" id="{8B728F68-58A8-0EBB-3E16-8B45F08CFC49}"/>
              </a:ext>
            </a:extLst>
          </p:cNvPr>
          <p:cNvSpPr>
            <a:spLocks noGrp="1"/>
          </p:cNvSpPr>
          <p:nvPr>
            <p:ph sz="quarter" idx="13" hasCustomPrompt="1"/>
          </p:nvPr>
        </p:nvSpPr>
        <p:spPr/>
        <p:txBody>
          <a:bodyPr/>
          <a:lstStyle/>
          <a:p>
            <a:pPr lvl="0"/>
            <a:r>
              <a:rPr lang="da-DK"/>
              <a:t>Normal tekst (bold for mellemrubrik, forøg </a:t>
            </a:r>
            <a:r>
              <a:rPr lang="da-DK" err="1"/>
              <a:t>nivau</a:t>
            </a:r>
            <a:r>
              <a:rPr lang="da-DK"/>
              <a:t> for bullet)</a:t>
            </a:r>
          </a:p>
          <a:p>
            <a:pPr lvl="1"/>
            <a:r>
              <a:rPr lang="da-DK"/>
              <a:t>Bullet 1</a:t>
            </a:r>
          </a:p>
          <a:p>
            <a:pPr lvl="2"/>
            <a:r>
              <a:rPr lang="da-DK"/>
              <a:t>Dash til “bullet1”</a:t>
            </a:r>
          </a:p>
          <a:p>
            <a:pPr lvl="3"/>
            <a:r>
              <a:rPr lang="da-DK"/>
              <a:t>Bullet 2</a:t>
            </a:r>
          </a:p>
          <a:p>
            <a:pPr lvl="4"/>
            <a:r>
              <a:rPr lang="da-DK"/>
              <a:t>Dash til “bullet2”</a:t>
            </a:r>
          </a:p>
        </p:txBody>
      </p:sp>
    </p:spTree>
    <p:extLst>
      <p:ext uri="{BB962C8B-B14F-4D97-AF65-F5344CB8AC3E}">
        <p14:creationId xmlns:p14="http://schemas.microsoft.com/office/powerpoint/2010/main" val="27006242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99C70A-A1F0-0A58-7768-0C0F705AE5B1}"/>
              </a:ext>
            </a:extLst>
          </p:cNvPr>
          <p:cNvSpPr>
            <a:spLocks noGrp="1"/>
          </p:cNvSpPr>
          <p:nvPr>
            <p:ph sz="half" idx="1" hasCustomPrompt="1"/>
          </p:nvPr>
        </p:nvSpPr>
        <p:spPr>
          <a:xfrm>
            <a:off x="414338" y="1677988"/>
            <a:ext cx="5541962"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0237FFD1-9811-9F57-D161-689CE381A12A}"/>
              </a:ext>
            </a:extLst>
          </p:cNvPr>
          <p:cNvSpPr>
            <a:spLocks noGrp="1"/>
          </p:cNvSpPr>
          <p:nvPr>
            <p:ph sz="half" idx="2" hasCustomPrompt="1"/>
          </p:nvPr>
        </p:nvSpPr>
        <p:spPr>
          <a:xfrm>
            <a:off x="6234112" y="1677988"/>
            <a:ext cx="5541963"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Date Placeholder 4">
            <a:extLst>
              <a:ext uri="{FF2B5EF4-FFF2-40B4-BE49-F238E27FC236}">
                <a16:creationId xmlns:a16="http://schemas.microsoft.com/office/drawing/2014/main" id="{07BBB4DF-61EE-0348-8960-6AB1CC8558AF}"/>
              </a:ext>
            </a:extLst>
          </p:cNvPr>
          <p:cNvSpPr>
            <a:spLocks noGrp="1"/>
          </p:cNvSpPr>
          <p:nvPr>
            <p:ph type="dt" sz="half" idx="10"/>
          </p:nvPr>
        </p:nvSpPr>
        <p:spPr/>
        <p:txBody>
          <a:bodyPr/>
          <a:lstStyle/>
          <a:p>
            <a:fld id="{91689223-5211-426B-9C4B-0029DBBD0F7E}" type="datetime1">
              <a:rPr lang="da-DK" smtClean="0"/>
              <a:t>16-09-2025</a:t>
            </a:fld>
            <a:endParaRPr lang="da-DK"/>
          </a:p>
        </p:txBody>
      </p:sp>
      <p:sp>
        <p:nvSpPr>
          <p:cNvPr id="6" name="Footer Placeholder 5">
            <a:extLst>
              <a:ext uri="{FF2B5EF4-FFF2-40B4-BE49-F238E27FC236}">
                <a16:creationId xmlns:a16="http://schemas.microsoft.com/office/drawing/2014/main" id="{ADF3376F-7DC1-B2D3-28B1-B9BA294D30A0}"/>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9411ACF4-5257-F553-73C6-99F7A7A81F88}"/>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8" name="Titel 7">
            <a:extLst>
              <a:ext uri="{FF2B5EF4-FFF2-40B4-BE49-F238E27FC236}">
                <a16:creationId xmlns:a16="http://schemas.microsoft.com/office/drawing/2014/main" id="{72CD10C1-81ED-AB89-EAF8-B022AE7DA109}"/>
              </a:ext>
            </a:extLst>
          </p:cNvPr>
          <p:cNvSpPr>
            <a:spLocks noGrp="1"/>
          </p:cNvSpPr>
          <p:nvPr>
            <p:ph type="title" hasCustomPrompt="1"/>
          </p:nvPr>
        </p:nvSpPr>
        <p:spPr/>
        <p:txBody>
          <a:bodyPr/>
          <a:lstStyle/>
          <a:p>
            <a:r>
              <a:rPr lang="da-DK"/>
              <a:t>Klik for at redigere titeltypografien i masteren</a:t>
            </a:r>
          </a:p>
        </p:txBody>
      </p:sp>
    </p:spTree>
    <p:extLst>
      <p:ext uri="{BB962C8B-B14F-4D97-AF65-F5344CB8AC3E}">
        <p14:creationId xmlns:p14="http://schemas.microsoft.com/office/powerpoint/2010/main" val="3558245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re indholdsobjek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99C70A-A1F0-0A58-7768-0C0F705AE5B1}"/>
              </a:ext>
            </a:extLst>
          </p:cNvPr>
          <p:cNvSpPr>
            <a:spLocks noGrp="1"/>
          </p:cNvSpPr>
          <p:nvPr>
            <p:ph sz="half" idx="1" hasCustomPrompt="1"/>
          </p:nvPr>
        </p:nvSpPr>
        <p:spPr>
          <a:xfrm>
            <a:off x="414338" y="1677988"/>
            <a:ext cx="3602037"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0237FFD1-9811-9F57-D161-689CE381A12A}"/>
              </a:ext>
            </a:extLst>
          </p:cNvPr>
          <p:cNvSpPr>
            <a:spLocks noGrp="1"/>
          </p:cNvSpPr>
          <p:nvPr>
            <p:ph sz="half" idx="2" hasCustomPrompt="1"/>
          </p:nvPr>
        </p:nvSpPr>
        <p:spPr>
          <a:xfrm>
            <a:off x="4296913" y="1677988"/>
            <a:ext cx="3602037"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Date Placeholder 4">
            <a:extLst>
              <a:ext uri="{FF2B5EF4-FFF2-40B4-BE49-F238E27FC236}">
                <a16:creationId xmlns:a16="http://schemas.microsoft.com/office/drawing/2014/main" id="{07BBB4DF-61EE-0348-8960-6AB1CC8558AF}"/>
              </a:ext>
            </a:extLst>
          </p:cNvPr>
          <p:cNvSpPr>
            <a:spLocks noGrp="1"/>
          </p:cNvSpPr>
          <p:nvPr>
            <p:ph type="dt" sz="half" idx="10"/>
          </p:nvPr>
        </p:nvSpPr>
        <p:spPr/>
        <p:txBody>
          <a:bodyPr/>
          <a:lstStyle/>
          <a:p>
            <a:fld id="{F62FD97E-0BB8-44DA-9DA7-8AC671A82CAA}" type="datetime1">
              <a:rPr lang="da-DK" smtClean="0"/>
              <a:t>16-09-2025</a:t>
            </a:fld>
            <a:endParaRPr lang="da-DK"/>
          </a:p>
        </p:txBody>
      </p:sp>
      <p:sp>
        <p:nvSpPr>
          <p:cNvPr id="6" name="Footer Placeholder 5">
            <a:extLst>
              <a:ext uri="{FF2B5EF4-FFF2-40B4-BE49-F238E27FC236}">
                <a16:creationId xmlns:a16="http://schemas.microsoft.com/office/drawing/2014/main" id="{ADF3376F-7DC1-B2D3-28B1-B9BA294D30A0}"/>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9411ACF4-5257-F553-73C6-99F7A7A81F88}"/>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8" name="Titel 7">
            <a:extLst>
              <a:ext uri="{FF2B5EF4-FFF2-40B4-BE49-F238E27FC236}">
                <a16:creationId xmlns:a16="http://schemas.microsoft.com/office/drawing/2014/main" id="{72CD10C1-81ED-AB89-EAF8-B022AE7DA109}"/>
              </a:ext>
            </a:extLst>
          </p:cNvPr>
          <p:cNvSpPr>
            <a:spLocks noGrp="1"/>
          </p:cNvSpPr>
          <p:nvPr>
            <p:ph type="title" hasCustomPrompt="1"/>
          </p:nvPr>
        </p:nvSpPr>
        <p:spPr/>
        <p:txBody>
          <a:bodyPr/>
          <a:lstStyle/>
          <a:p>
            <a:r>
              <a:rPr lang="da-DK"/>
              <a:t>Klik for at redigere titeltypografien i masteren</a:t>
            </a:r>
          </a:p>
        </p:txBody>
      </p:sp>
      <p:sp>
        <p:nvSpPr>
          <p:cNvPr id="9" name="Content Placeholder 3">
            <a:extLst>
              <a:ext uri="{FF2B5EF4-FFF2-40B4-BE49-F238E27FC236}">
                <a16:creationId xmlns:a16="http://schemas.microsoft.com/office/drawing/2014/main" id="{D3E80DA8-52D5-4DFA-7BA2-3A66929D657E}"/>
              </a:ext>
            </a:extLst>
          </p:cNvPr>
          <p:cNvSpPr>
            <a:spLocks noGrp="1"/>
          </p:cNvSpPr>
          <p:nvPr>
            <p:ph sz="half" idx="13" hasCustomPrompt="1"/>
          </p:nvPr>
        </p:nvSpPr>
        <p:spPr>
          <a:xfrm>
            <a:off x="8173244" y="1677988"/>
            <a:ext cx="3602037"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674307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dhold og bille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99C70A-A1F0-0A58-7768-0C0F705AE5B1}"/>
              </a:ext>
            </a:extLst>
          </p:cNvPr>
          <p:cNvSpPr>
            <a:spLocks noGrp="1"/>
          </p:cNvSpPr>
          <p:nvPr>
            <p:ph sz="half" idx="1" hasCustomPrompt="1"/>
          </p:nvPr>
        </p:nvSpPr>
        <p:spPr>
          <a:xfrm>
            <a:off x="414338" y="1677988"/>
            <a:ext cx="5541962"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Date Placeholder 4">
            <a:extLst>
              <a:ext uri="{FF2B5EF4-FFF2-40B4-BE49-F238E27FC236}">
                <a16:creationId xmlns:a16="http://schemas.microsoft.com/office/drawing/2014/main" id="{07BBB4DF-61EE-0348-8960-6AB1CC8558AF}"/>
              </a:ext>
            </a:extLst>
          </p:cNvPr>
          <p:cNvSpPr>
            <a:spLocks noGrp="1"/>
          </p:cNvSpPr>
          <p:nvPr>
            <p:ph type="dt" sz="half" idx="10"/>
          </p:nvPr>
        </p:nvSpPr>
        <p:spPr/>
        <p:txBody>
          <a:bodyPr/>
          <a:lstStyle/>
          <a:p>
            <a:fld id="{80CF806E-5202-4939-91DC-FB45EBF365F0}" type="datetime1">
              <a:rPr lang="da-DK" smtClean="0"/>
              <a:t>16-09-2025</a:t>
            </a:fld>
            <a:endParaRPr lang="da-DK"/>
          </a:p>
        </p:txBody>
      </p:sp>
      <p:sp>
        <p:nvSpPr>
          <p:cNvPr id="6" name="Footer Placeholder 5">
            <a:extLst>
              <a:ext uri="{FF2B5EF4-FFF2-40B4-BE49-F238E27FC236}">
                <a16:creationId xmlns:a16="http://schemas.microsoft.com/office/drawing/2014/main" id="{ADF3376F-7DC1-B2D3-28B1-B9BA294D30A0}"/>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9411ACF4-5257-F553-73C6-99F7A7A81F88}"/>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8" name="Titel 7">
            <a:extLst>
              <a:ext uri="{FF2B5EF4-FFF2-40B4-BE49-F238E27FC236}">
                <a16:creationId xmlns:a16="http://schemas.microsoft.com/office/drawing/2014/main" id="{72CD10C1-81ED-AB89-EAF8-B022AE7DA109}"/>
              </a:ext>
            </a:extLst>
          </p:cNvPr>
          <p:cNvSpPr>
            <a:spLocks noGrp="1"/>
          </p:cNvSpPr>
          <p:nvPr>
            <p:ph type="title" hasCustomPrompt="1"/>
          </p:nvPr>
        </p:nvSpPr>
        <p:spPr>
          <a:xfrm>
            <a:off x="414337" y="419100"/>
            <a:ext cx="5541963" cy="839788"/>
          </a:xfrm>
        </p:spPr>
        <p:txBody>
          <a:bodyPr/>
          <a:lstStyle/>
          <a:p>
            <a:r>
              <a:rPr lang="da-DK"/>
              <a:t>Klik for at redigere titeltypografien i masteren</a:t>
            </a:r>
          </a:p>
        </p:txBody>
      </p:sp>
      <p:sp>
        <p:nvSpPr>
          <p:cNvPr id="9" name="Picture Placeholder 8">
            <a:extLst>
              <a:ext uri="{FF2B5EF4-FFF2-40B4-BE49-F238E27FC236}">
                <a16:creationId xmlns:a16="http://schemas.microsoft.com/office/drawing/2014/main" id="{DA1E378B-6CF1-3C3E-3A6C-080C9D87B9DF}"/>
              </a:ext>
            </a:extLst>
          </p:cNvPr>
          <p:cNvSpPr>
            <a:spLocks noGrp="1"/>
          </p:cNvSpPr>
          <p:nvPr>
            <p:ph type="pic" sz="quarter" idx="13"/>
          </p:nvPr>
        </p:nvSpPr>
        <p:spPr>
          <a:xfrm>
            <a:off x="6234113" y="419100"/>
            <a:ext cx="5541962" cy="5738813"/>
          </a:xfrm>
          <a:solidFill>
            <a:schemeClr val="bg2"/>
          </a:solidFill>
        </p:spPr>
        <p:txBody>
          <a:bodyPr anchor="ctr"/>
          <a:lstStyle>
            <a:lvl1pPr algn="ctr">
              <a:defRPr/>
            </a:lvl1pPr>
          </a:lstStyle>
          <a:p>
            <a:r>
              <a:rPr lang="da-DK"/>
              <a:t>Klik på ikonet for at tilføje et billede</a:t>
            </a:r>
            <a:endParaRPr lang="en-US"/>
          </a:p>
        </p:txBody>
      </p:sp>
    </p:spTree>
    <p:extLst>
      <p:ext uri="{BB962C8B-B14F-4D97-AF65-F5344CB8AC3E}">
        <p14:creationId xmlns:p14="http://schemas.microsoft.com/office/powerpoint/2010/main" val="1603128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dhold med indholds bille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99C70A-A1F0-0A58-7768-0C0F705AE5B1}"/>
              </a:ext>
            </a:extLst>
          </p:cNvPr>
          <p:cNvSpPr>
            <a:spLocks noGrp="1"/>
          </p:cNvSpPr>
          <p:nvPr>
            <p:ph sz="half" idx="1" hasCustomPrompt="1"/>
          </p:nvPr>
        </p:nvSpPr>
        <p:spPr>
          <a:xfrm>
            <a:off x="414338" y="1677988"/>
            <a:ext cx="5541962" cy="4479925"/>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Date Placeholder 4">
            <a:extLst>
              <a:ext uri="{FF2B5EF4-FFF2-40B4-BE49-F238E27FC236}">
                <a16:creationId xmlns:a16="http://schemas.microsoft.com/office/drawing/2014/main" id="{07BBB4DF-61EE-0348-8960-6AB1CC8558AF}"/>
              </a:ext>
            </a:extLst>
          </p:cNvPr>
          <p:cNvSpPr>
            <a:spLocks noGrp="1"/>
          </p:cNvSpPr>
          <p:nvPr>
            <p:ph type="dt" sz="half" idx="10"/>
          </p:nvPr>
        </p:nvSpPr>
        <p:spPr/>
        <p:txBody>
          <a:bodyPr/>
          <a:lstStyle/>
          <a:p>
            <a:fld id="{64571749-1273-4AC7-814C-2DAAF45F35CD}" type="datetime1">
              <a:rPr lang="da-DK" smtClean="0"/>
              <a:t>16-09-2025</a:t>
            </a:fld>
            <a:endParaRPr lang="da-DK"/>
          </a:p>
        </p:txBody>
      </p:sp>
      <p:sp>
        <p:nvSpPr>
          <p:cNvPr id="6" name="Footer Placeholder 5">
            <a:extLst>
              <a:ext uri="{FF2B5EF4-FFF2-40B4-BE49-F238E27FC236}">
                <a16:creationId xmlns:a16="http://schemas.microsoft.com/office/drawing/2014/main" id="{ADF3376F-7DC1-B2D3-28B1-B9BA294D30A0}"/>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9411ACF4-5257-F553-73C6-99F7A7A81F88}"/>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8" name="Titel 7">
            <a:extLst>
              <a:ext uri="{FF2B5EF4-FFF2-40B4-BE49-F238E27FC236}">
                <a16:creationId xmlns:a16="http://schemas.microsoft.com/office/drawing/2014/main" id="{72CD10C1-81ED-AB89-EAF8-B022AE7DA109}"/>
              </a:ext>
            </a:extLst>
          </p:cNvPr>
          <p:cNvSpPr>
            <a:spLocks noGrp="1"/>
          </p:cNvSpPr>
          <p:nvPr>
            <p:ph type="title" hasCustomPrompt="1"/>
          </p:nvPr>
        </p:nvSpPr>
        <p:spPr>
          <a:xfrm>
            <a:off x="414338" y="419100"/>
            <a:ext cx="11361738" cy="839788"/>
          </a:xfrm>
        </p:spPr>
        <p:txBody>
          <a:bodyPr/>
          <a:lstStyle/>
          <a:p>
            <a:r>
              <a:rPr lang="da-DK"/>
              <a:t>Klik for at redigere titeltypografien i masteren</a:t>
            </a:r>
          </a:p>
        </p:txBody>
      </p:sp>
      <p:sp>
        <p:nvSpPr>
          <p:cNvPr id="9" name="Picture Placeholder 8">
            <a:extLst>
              <a:ext uri="{FF2B5EF4-FFF2-40B4-BE49-F238E27FC236}">
                <a16:creationId xmlns:a16="http://schemas.microsoft.com/office/drawing/2014/main" id="{DA1E378B-6CF1-3C3E-3A6C-080C9D87B9DF}"/>
              </a:ext>
            </a:extLst>
          </p:cNvPr>
          <p:cNvSpPr>
            <a:spLocks noGrp="1"/>
          </p:cNvSpPr>
          <p:nvPr>
            <p:ph type="pic" sz="quarter" idx="13"/>
          </p:nvPr>
        </p:nvSpPr>
        <p:spPr>
          <a:xfrm>
            <a:off x="6234113" y="1677988"/>
            <a:ext cx="5541962" cy="4479925"/>
          </a:xfrm>
          <a:solidFill>
            <a:schemeClr val="bg2"/>
          </a:solidFill>
        </p:spPr>
        <p:txBody>
          <a:bodyPr anchor="ctr"/>
          <a:lstStyle>
            <a:lvl1pPr algn="ctr">
              <a:defRPr/>
            </a:lvl1pPr>
          </a:lstStyle>
          <a:p>
            <a:r>
              <a:rPr lang="da-DK"/>
              <a:t>Klik på ikonet for at tilføje et billede</a:t>
            </a:r>
            <a:endParaRPr lang="en-US"/>
          </a:p>
        </p:txBody>
      </p:sp>
    </p:spTree>
    <p:extLst>
      <p:ext uri="{BB962C8B-B14F-4D97-AF65-F5344CB8AC3E}">
        <p14:creationId xmlns:p14="http://schemas.microsoft.com/office/powerpoint/2010/main" val="3325890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1B1FEB7-81CF-0755-490B-C17BD37E1F36}"/>
              </a:ext>
            </a:extLst>
          </p:cNvPr>
          <p:cNvSpPr>
            <a:spLocks noGrp="1"/>
          </p:cNvSpPr>
          <p:nvPr>
            <p:ph type="body" idx="1" hasCustomPrompt="1"/>
          </p:nvPr>
        </p:nvSpPr>
        <p:spPr>
          <a:xfrm>
            <a:off x="414339" y="1677988"/>
            <a:ext cx="5541962" cy="618173"/>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F1762049-B8F7-13AF-4B0E-706AFE0EB249}"/>
              </a:ext>
            </a:extLst>
          </p:cNvPr>
          <p:cNvSpPr>
            <a:spLocks noGrp="1"/>
          </p:cNvSpPr>
          <p:nvPr>
            <p:ph sz="half" idx="2" hasCustomPrompt="1"/>
          </p:nvPr>
        </p:nvSpPr>
        <p:spPr>
          <a:xfrm>
            <a:off x="414339" y="2517775"/>
            <a:ext cx="5541962" cy="3640138"/>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AA00EA7F-859C-B039-CB57-83760701FF5B}"/>
              </a:ext>
            </a:extLst>
          </p:cNvPr>
          <p:cNvSpPr>
            <a:spLocks noGrp="1"/>
          </p:cNvSpPr>
          <p:nvPr>
            <p:ph type="body" sz="quarter" idx="3" hasCustomPrompt="1"/>
          </p:nvPr>
        </p:nvSpPr>
        <p:spPr>
          <a:xfrm>
            <a:off x="6234112" y="1677988"/>
            <a:ext cx="5541963" cy="618173"/>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Content Placeholder 5">
            <a:extLst>
              <a:ext uri="{FF2B5EF4-FFF2-40B4-BE49-F238E27FC236}">
                <a16:creationId xmlns:a16="http://schemas.microsoft.com/office/drawing/2014/main" id="{6103ABD9-CCBE-8281-3BFE-AE34A9D8F06C}"/>
              </a:ext>
            </a:extLst>
          </p:cNvPr>
          <p:cNvSpPr>
            <a:spLocks noGrp="1"/>
          </p:cNvSpPr>
          <p:nvPr>
            <p:ph sz="quarter" idx="4" hasCustomPrompt="1"/>
          </p:nvPr>
        </p:nvSpPr>
        <p:spPr>
          <a:xfrm>
            <a:off x="6234112" y="2517775"/>
            <a:ext cx="5541963" cy="3640138"/>
          </a:xfrm>
          <a:prstGeom prst="rect">
            <a:avLst/>
          </a:prstGeo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Date Placeholder 6">
            <a:extLst>
              <a:ext uri="{FF2B5EF4-FFF2-40B4-BE49-F238E27FC236}">
                <a16:creationId xmlns:a16="http://schemas.microsoft.com/office/drawing/2014/main" id="{4EEE389F-05A7-795B-3EA5-FDE2744ADC75}"/>
              </a:ext>
            </a:extLst>
          </p:cNvPr>
          <p:cNvSpPr>
            <a:spLocks noGrp="1"/>
          </p:cNvSpPr>
          <p:nvPr>
            <p:ph type="dt" sz="half" idx="10"/>
          </p:nvPr>
        </p:nvSpPr>
        <p:spPr/>
        <p:txBody>
          <a:bodyPr/>
          <a:lstStyle/>
          <a:p>
            <a:fld id="{4BC5E4F5-30C3-4EA4-A5A2-06FB4943C120}" type="datetime1">
              <a:rPr lang="da-DK" smtClean="0"/>
              <a:t>16-09-2025</a:t>
            </a:fld>
            <a:endParaRPr lang="da-DK"/>
          </a:p>
        </p:txBody>
      </p:sp>
      <p:sp>
        <p:nvSpPr>
          <p:cNvPr id="8" name="Footer Placeholder 7">
            <a:extLst>
              <a:ext uri="{FF2B5EF4-FFF2-40B4-BE49-F238E27FC236}">
                <a16:creationId xmlns:a16="http://schemas.microsoft.com/office/drawing/2014/main" id="{49168A9E-8F50-7596-35B4-0F1D5BEE51D2}"/>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2F914F73-FE74-B45F-0B29-A7D2C6461793}"/>
              </a:ext>
            </a:extLst>
          </p:cNvPr>
          <p:cNvSpPr>
            <a:spLocks noGrp="1"/>
          </p:cNvSpPr>
          <p:nvPr>
            <p:ph type="sldNum" sz="quarter" idx="12"/>
          </p:nvPr>
        </p:nvSpPr>
        <p:spPr/>
        <p:txBody>
          <a:bodyPr/>
          <a:lstStyle/>
          <a:p>
            <a:fld id="{0E8862F4-759C-4937-98C7-CDEB1EE77131}" type="slidenum">
              <a:rPr lang="da-DK" smtClean="0"/>
              <a:pPr/>
              <a:t>‹nr.›</a:t>
            </a:fld>
            <a:endParaRPr lang="da-DK"/>
          </a:p>
        </p:txBody>
      </p:sp>
      <p:sp>
        <p:nvSpPr>
          <p:cNvPr id="10" name="Titel 9">
            <a:extLst>
              <a:ext uri="{FF2B5EF4-FFF2-40B4-BE49-F238E27FC236}">
                <a16:creationId xmlns:a16="http://schemas.microsoft.com/office/drawing/2014/main" id="{5E7B53BF-4DC0-5FDB-1039-C35AF634255D}"/>
              </a:ext>
            </a:extLst>
          </p:cNvPr>
          <p:cNvSpPr>
            <a:spLocks noGrp="1"/>
          </p:cNvSpPr>
          <p:nvPr>
            <p:ph type="title" hasCustomPrompt="1"/>
          </p:nvPr>
        </p:nvSpPr>
        <p:spPr/>
        <p:txBody>
          <a:bodyPr/>
          <a:lstStyle/>
          <a:p>
            <a:r>
              <a:rPr lang="da-DK"/>
              <a:t>Klik for at redigere titeltypografien i masteren</a:t>
            </a:r>
          </a:p>
        </p:txBody>
      </p:sp>
    </p:spTree>
    <p:extLst>
      <p:ext uri="{BB962C8B-B14F-4D97-AF65-F5344CB8AC3E}">
        <p14:creationId xmlns:p14="http://schemas.microsoft.com/office/powerpoint/2010/main" val="1497805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78EC-B021-7464-1BF3-731F2D6DD87A}"/>
              </a:ext>
            </a:extLst>
          </p:cNvPr>
          <p:cNvSpPr>
            <a:spLocks noGrp="1"/>
          </p:cNvSpPr>
          <p:nvPr>
            <p:ph type="title" hasCustomPrompt="1"/>
          </p:nvPr>
        </p:nvSpPr>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FD622DCB-5FEB-2ECF-9492-27A9548FB489}"/>
              </a:ext>
            </a:extLst>
          </p:cNvPr>
          <p:cNvSpPr>
            <a:spLocks noGrp="1"/>
          </p:cNvSpPr>
          <p:nvPr>
            <p:ph type="dt" sz="half" idx="10"/>
          </p:nvPr>
        </p:nvSpPr>
        <p:spPr/>
        <p:txBody>
          <a:bodyPr/>
          <a:lstStyle/>
          <a:p>
            <a:fld id="{6D5D1A30-15C3-4239-83E6-F465C8049868}" type="datetime1">
              <a:rPr lang="da-DK" smtClean="0"/>
              <a:t>16-09-2025</a:t>
            </a:fld>
            <a:endParaRPr lang="da-DK"/>
          </a:p>
        </p:txBody>
      </p:sp>
      <p:sp>
        <p:nvSpPr>
          <p:cNvPr id="4" name="Footer Placeholder 3">
            <a:extLst>
              <a:ext uri="{FF2B5EF4-FFF2-40B4-BE49-F238E27FC236}">
                <a16:creationId xmlns:a16="http://schemas.microsoft.com/office/drawing/2014/main" id="{05EA7E87-0555-0CE2-B957-CA4A213A2344}"/>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AE1C199D-18D3-3981-EA70-1E1D37AAC43C}"/>
              </a:ext>
            </a:extLst>
          </p:cNvPr>
          <p:cNvSpPr>
            <a:spLocks noGrp="1"/>
          </p:cNvSpPr>
          <p:nvPr>
            <p:ph type="sldNum" sz="quarter" idx="12"/>
          </p:nvPr>
        </p:nvSpPr>
        <p:spPr/>
        <p:txBody>
          <a:bodyPr/>
          <a:lstStyle/>
          <a:p>
            <a:fld id="{0E8862F4-759C-4937-98C7-CDEB1EE77131}" type="slidenum">
              <a:rPr lang="da-DK" smtClean="0"/>
              <a:pPr/>
              <a:t>‹nr.›</a:t>
            </a:fld>
            <a:endParaRPr lang="da-DK"/>
          </a:p>
        </p:txBody>
      </p:sp>
    </p:spTree>
    <p:extLst>
      <p:ext uri="{BB962C8B-B14F-4D97-AF65-F5344CB8AC3E}">
        <p14:creationId xmlns:p14="http://schemas.microsoft.com/office/powerpoint/2010/main" val="458307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25933"/>
            <a:ext cx="11229673" cy="972000"/>
          </a:xfrm>
        </p:spPr>
        <p:txBody>
          <a:bodyPr>
            <a:normAutofit/>
          </a:bodyPr>
          <a:lstStyle>
            <a:lvl1pPr>
              <a:defRPr sz="4900"/>
            </a:lvl1pPr>
          </a:lstStyle>
          <a:p>
            <a:r>
              <a:rPr lang="da-DK"/>
              <a:t>Klik for at tilføje tekst</a:t>
            </a:r>
          </a:p>
        </p:txBody>
      </p:sp>
      <p:sp>
        <p:nvSpPr>
          <p:cNvPr id="4" name="Pladsholder til indhold 3"/>
          <p:cNvSpPr>
            <a:spLocks noGrp="1"/>
          </p:cNvSpPr>
          <p:nvPr>
            <p:ph sz="quarter" idx="10" hasCustomPrompt="1"/>
          </p:nvPr>
        </p:nvSpPr>
        <p:spPr>
          <a:xfrm>
            <a:off x="1016000" y="1516530"/>
            <a:ext cx="10707843" cy="4706471"/>
          </a:xfrm>
        </p:spPr>
        <p:txBody>
          <a:bodyPr vert="horz" anchor="t"/>
          <a:lstStyle>
            <a:lvl1pPr>
              <a:defRPr baseline="0"/>
            </a:lvl1pPr>
          </a:lstStyle>
          <a:p>
            <a:pPr lvl="0"/>
            <a:r>
              <a:rPr lang="da-DK"/>
              <a:t>Klik at tilføje tekst</a:t>
            </a:r>
          </a:p>
          <a:p>
            <a:pPr lvl="1"/>
            <a:r>
              <a:rPr lang="da-DK"/>
              <a:t>Andet niveau</a:t>
            </a:r>
          </a:p>
          <a:p>
            <a:pPr lvl="2"/>
            <a:r>
              <a:rPr lang="da-DK"/>
              <a:t>Tredje niveau</a:t>
            </a:r>
          </a:p>
          <a:p>
            <a:pPr lvl="3"/>
            <a:r>
              <a:rPr lang="da-DK"/>
              <a:t>Fjerde niveau</a:t>
            </a:r>
          </a:p>
          <a:p>
            <a:pPr lvl="4"/>
            <a:r>
              <a:rPr lang="da-DK"/>
              <a:t>Femte niveau</a:t>
            </a:r>
          </a:p>
        </p:txBody>
      </p:sp>
      <p:sp>
        <p:nvSpPr>
          <p:cNvPr id="3" name="Pladsholder til diasnummer 2"/>
          <p:cNvSpPr>
            <a:spLocks noGrp="1"/>
          </p:cNvSpPr>
          <p:nvPr>
            <p:ph type="sldNum" sz="quarter" idx="11"/>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96086700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E1E62A-639D-621A-9430-7777049F56A2}"/>
              </a:ext>
            </a:extLst>
          </p:cNvPr>
          <p:cNvSpPr>
            <a:spLocks noGrp="1"/>
          </p:cNvSpPr>
          <p:nvPr>
            <p:ph type="dt" sz="half" idx="10"/>
          </p:nvPr>
        </p:nvSpPr>
        <p:spPr/>
        <p:txBody>
          <a:bodyPr/>
          <a:lstStyle/>
          <a:p>
            <a:fld id="{E56792C7-FB83-4951-A066-7E6F19046B9D}" type="datetime1">
              <a:rPr lang="da-DK" smtClean="0"/>
              <a:t>16-09-2025</a:t>
            </a:fld>
            <a:endParaRPr lang="da-DK"/>
          </a:p>
        </p:txBody>
      </p:sp>
      <p:sp>
        <p:nvSpPr>
          <p:cNvPr id="3" name="Footer Placeholder 2">
            <a:extLst>
              <a:ext uri="{FF2B5EF4-FFF2-40B4-BE49-F238E27FC236}">
                <a16:creationId xmlns:a16="http://schemas.microsoft.com/office/drawing/2014/main" id="{C6167648-3F4D-BFA4-7005-73BFC3C22D98}"/>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F8D64F91-3C0D-2797-769A-BEFAB2FE0E7A}"/>
              </a:ext>
            </a:extLst>
          </p:cNvPr>
          <p:cNvSpPr>
            <a:spLocks noGrp="1"/>
          </p:cNvSpPr>
          <p:nvPr>
            <p:ph type="sldNum" sz="quarter" idx="12"/>
          </p:nvPr>
        </p:nvSpPr>
        <p:spPr/>
        <p:txBody>
          <a:bodyPr/>
          <a:lstStyle/>
          <a:p>
            <a:fld id="{0E8862F4-759C-4937-98C7-CDEB1EE77131}" type="slidenum">
              <a:rPr lang="da-DK" smtClean="0"/>
              <a:pPr/>
              <a:t>‹nr.›</a:t>
            </a:fld>
            <a:endParaRPr lang="da-DK"/>
          </a:p>
        </p:txBody>
      </p:sp>
    </p:spTree>
    <p:extLst>
      <p:ext uri="{BB962C8B-B14F-4D97-AF65-F5344CB8AC3E}">
        <p14:creationId xmlns:p14="http://schemas.microsoft.com/office/powerpoint/2010/main" val="30292110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bg>
      <p:bgPr>
        <a:solidFill>
          <a:schemeClr val="tx2"/>
        </a:solidFill>
        <a:effectLst/>
      </p:bgPr>
    </p:bg>
    <p:spTree>
      <p:nvGrpSpPr>
        <p:cNvPr id="1" name=""/>
        <p:cNvGrpSpPr/>
        <p:nvPr/>
      </p:nvGrpSpPr>
      <p:grpSpPr>
        <a:xfrm>
          <a:off x="0" y="0"/>
          <a:ext cx="0" cy="0"/>
          <a:chOff x="0" y="0"/>
          <a:chExt cx="0" cy="0"/>
        </a:xfrm>
      </p:grpSpPr>
      <p:grpSp>
        <p:nvGrpSpPr>
          <p:cNvPr id="6" name="Gruppe 14">
            <a:extLst>
              <a:ext uri="{FF2B5EF4-FFF2-40B4-BE49-F238E27FC236}">
                <a16:creationId xmlns:a16="http://schemas.microsoft.com/office/drawing/2014/main" id="{9F79B45E-8217-B58D-3E89-3F617B2ADDF4}"/>
              </a:ext>
            </a:extLst>
          </p:cNvPr>
          <p:cNvGrpSpPr/>
          <p:nvPr userDrawn="1"/>
        </p:nvGrpSpPr>
        <p:grpSpPr>
          <a:xfrm>
            <a:off x="4198901" y="3001824"/>
            <a:ext cx="3794198" cy="654672"/>
            <a:chOff x="830263" y="777875"/>
            <a:chExt cx="1665288" cy="287338"/>
          </a:xfrm>
        </p:grpSpPr>
        <p:sp>
          <p:nvSpPr>
            <p:cNvPr id="7" name="Freeform 5">
              <a:extLst>
                <a:ext uri="{FF2B5EF4-FFF2-40B4-BE49-F238E27FC236}">
                  <a16:creationId xmlns:a16="http://schemas.microsoft.com/office/drawing/2014/main" id="{8304C4EE-1C4A-B0B1-DF89-75D5C48186D0}"/>
                </a:ext>
              </a:extLst>
            </p:cNvPr>
            <p:cNvSpPr>
              <a:spLocks/>
            </p:cNvSpPr>
            <p:nvPr userDrawn="1"/>
          </p:nvSpPr>
          <p:spPr bwMode="auto">
            <a:xfrm>
              <a:off x="1820863" y="809625"/>
              <a:ext cx="119063" cy="188913"/>
            </a:xfrm>
            <a:custGeom>
              <a:avLst/>
              <a:gdLst>
                <a:gd name="T0" fmla="*/ 195 w 724"/>
                <a:gd name="T1" fmla="*/ 316 h 1151"/>
                <a:gd name="T2" fmla="*/ 195 w 724"/>
                <a:gd name="T3" fmla="*/ 316 h 1151"/>
                <a:gd name="T4" fmla="*/ 420 w 724"/>
                <a:gd name="T5" fmla="*/ 149 h 1151"/>
                <a:gd name="T6" fmla="*/ 622 w 724"/>
                <a:gd name="T7" fmla="*/ 180 h 1151"/>
                <a:gd name="T8" fmla="*/ 632 w 724"/>
                <a:gd name="T9" fmla="*/ 20 h 1151"/>
                <a:gd name="T10" fmla="*/ 430 w 724"/>
                <a:gd name="T11" fmla="*/ 0 h 1151"/>
                <a:gd name="T12" fmla="*/ 9 w 724"/>
                <a:gd name="T13" fmla="*/ 332 h 1151"/>
                <a:gd name="T14" fmla="*/ 522 w 724"/>
                <a:gd name="T15" fmla="*/ 787 h 1151"/>
                <a:gd name="T16" fmla="*/ 286 w 724"/>
                <a:gd name="T17" fmla="*/ 995 h 1151"/>
                <a:gd name="T18" fmla="*/ 47 w 724"/>
                <a:gd name="T19" fmla="*/ 947 h 1151"/>
                <a:gd name="T20" fmla="*/ 44 w 724"/>
                <a:gd name="T21" fmla="*/ 1112 h 1151"/>
                <a:gd name="T22" fmla="*/ 269 w 724"/>
                <a:gd name="T23" fmla="*/ 1151 h 1151"/>
                <a:gd name="T24" fmla="*/ 715 w 724"/>
                <a:gd name="T25" fmla="*/ 767 h 1151"/>
                <a:gd name="T26" fmla="*/ 195 w 724"/>
                <a:gd name="T27" fmla="*/ 31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1151">
                  <a:moveTo>
                    <a:pt x="195" y="316"/>
                  </a:moveTo>
                  <a:lnTo>
                    <a:pt x="195" y="316"/>
                  </a:lnTo>
                  <a:cubicBezTo>
                    <a:pt x="195" y="212"/>
                    <a:pt x="281" y="149"/>
                    <a:pt x="420" y="149"/>
                  </a:cubicBezTo>
                  <a:cubicBezTo>
                    <a:pt x="486" y="149"/>
                    <a:pt x="557" y="160"/>
                    <a:pt x="622" y="180"/>
                  </a:cubicBezTo>
                  <a:lnTo>
                    <a:pt x="632" y="20"/>
                  </a:lnTo>
                  <a:cubicBezTo>
                    <a:pt x="564" y="8"/>
                    <a:pt x="496" y="0"/>
                    <a:pt x="430" y="0"/>
                  </a:cubicBezTo>
                  <a:cubicBezTo>
                    <a:pt x="170" y="0"/>
                    <a:pt x="0" y="140"/>
                    <a:pt x="9" y="332"/>
                  </a:cubicBezTo>
                  <a:cubicBezTo>
                    <a:pt x="25" y="692"/>
                    <a:pt x="494" y="537"/>
                    <a:pt x="522" y="787"/>
                  </a:cubicBezTo>
                  <a:cubicBezTo>
                    <a:pt x="536" y="917"/>
                    <a:pt x="408" y="995"/>
                    <a:pt x="286" y="995"/>
                  </a:cubicBezTo>
                  <a:cubicBezTo>
                    <a:pt x="205" y="995"/>
                    <a:pt x="110" y="970"/>
                    <a:pt x="47" y="947"/>
                  </a:cubicBezTo>
                  <a:lnTo>
                    <a:pt x="44" y="1112"/>
                  </a:lnTo>
                  <a:cubicBezTo>
                    <a:pt x="109" y="1129"/>
                    <a:pt x="188" y="1151"/>
                    <a:pt x="269" y="1151"/>
                  </a:cubicBezTo>
                  <a:cubicBezTo>
                    <a:pt x="536" y="1151"/>
                    <a:pt x="724" y="972"/>
                    <a:pt x="715" y="767"/>
                  </a:cubicBezTo>
                  <a:cubicBezTo>
                    <a:pt x="699" y="418"/>
                    <a:pt x="195" y="539"/>
                    <a:pt x="195" y="3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8" name="Freeform 6">
              <a:extLst>
                <a:ext uri="{FF2B5EF4-FFF2-40B4-BE49-F238E27FC236}">
                  <a16:creationId xmlns:a16="http://schemas.microsoft.com/office/drawing/2014/main" id="{57686CB7-A5E5-F2FF-814D-66791C8122D3}"/>
                </a:ext>
              </a:extLst>
            </p:cNvPr>
            <p:cNvSpPr>
              <a:spLocks noEditPoints="1"/>
            </p:cNvSpPr>
            <p:nvPr userDrawn="1"/>
          </p:nvSpPr>
          <p:spPr bwMode="auto">
            <a:xfrm>
              <a:off x="2246313" y="852488"/>
              <a:ext cx="112713"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2"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9" name="Freeform 7">
              <a:extLst>
                <a:ext uri="{FF2B5EF4-FFF2-40B4-BE49-F238E27FC236}">
                  <a16:creationId xmlns:a16="http://schemas.microsoft.com/office/drawing/2014/main" id="{2758C93F-719F-2B35-81D4-733D50A1EDA4}"/>
                </a:ext>
              </a:extLst>
            </p:cNvPr>
            <p:cNvSpPr>
              <a:spLocks noEditPoints="1"/>
            </p:cNvSpPr>
            <p:nvPr userDrawn="1"/>
          </p:nvSpPr>
          <p:spPr bwMode="auto">
            <a:xfrm>
              <a:off x="1387476" y="852488"/>
              <a:ext cx="111125"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1"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0" name="Freeform 8">
              <a:extLst>
                <a:ext uri="{FF2B5EF4-FFF2-40B4-BE49-F238E27FC236}">
                  <a16:creationId xmlns:a16="http://schemas.microsoft.com/office/drawing/2014/main" id="{EF5B63F4-89F6-AB3F-9E6B-D85799EF1991}"/>
                </a:ext>
              </a:extLst>
            </p:cNvPr>
            <p:cNvSpPr>
              <a:spLocks noEditPoints="1"/>
            </p:cNvSpPr>
            <p:nvPr userDrawn="1"/>
          </p:nvSpPr>
          <p:spPr bwMode="auto">
            <a:xfrm>
              <a:off x="1955801" y="852488"/>
              <a:ext cx="112713" cy="144463"/>
            </a:xfrm>
            <a:custGeom>
              <a:avLst/>
              <a:gdLst>
                <a:gd name="T0" fmla="*/ 532 w 687"/>
                <a:gd name="T1" fmla="*/ 494 h 881"/>
                <a:gd name="T2" fmla="*/ 532 w 687"/>
                <a:gd name="T3" fmla="*/ 494 h 881"/>
                <a:gd name="T4" fmla="*/ 532 w 687"/>
                <a:gd name="T5" fmla="*/ 578 h 881"/>
                <a:gd name="T6" fmla="*/ 332 w 687"/>
                <a:gd name="T7" fmla="*/ 737 h 881"/>
                <a:gd name="T8" fmla="*/ 161 w 687"/>
                <a:gd name="T9" fmla="*/ 663 h 881"/>
                <a:gd name="T10" fmla="*/ 155 w 687"/>
                <a:gd name="T11" fmla="*/ 618 h 881"/>
                <a:gd name="T12" fmla="*/ 321 w 687"/>
                <a:gd name="T13" fmla="*/ 494 h 881"/>
                <a:gd name="T14" fmla="*/ 532 w 687"/>
                <a:gd name="T15" fmla="*/ 494 h 881"/>
                <a:gd name="T16" fmla="*/ 532 w 687"/>
                <a:gd name="T17" fmla="*/ 494 h 881"/>
                <a:gd name="T18" fmla="*/ 140 w 687"/>
                <a:gd name="T19" fmla="*/ 218 h 881"/>
                <a:gd name="T20" fmla="*/ 140 w 687"/>
                <a:gd name="T21" fmla="*/ 218 h 881"/>
                <a:gd name="T22" fmla="*/ 344 w 687"/>
                <a:gd name="T23" fmla="*/ 145 h 881"/>
                <a:gd name="T24" fmla="*/ 532 w 687"/>
                <a:gd name="T25" fmla="*/ 303 h 881"/>
                <a:gd name="T26" fmla="*/ 532 w 687"/>
                <a:gd name="T27" fmla="*/ 356 h 881"/>
                <a:gd name="T28" fmla="*/ 312 w 687"/>
                <a:gd name="T29" fmla="*/ 356 h 881"/>
                <a:gd name="T30" fmla="*/ 0 w 687"/>
                <a:gd name="T31" fmla="*/ 620 h 881"/>
                <a:gd name="T32" fmla="*/ 68 w 687"/>
                <a:gd name="T33" fmla="*/ 798 h 881"/>
                <a:gd name="T34" fmla="*/ 336 w 687"/>
                <a:gd name="T35" fmla="*/ 881 h 881"/>
                <a:gd name="T36" fmla="*/ 433 w 687"/>
                <a:gd name="T37" fmla="*/ 875 h 881"/>
                <a:gd name="T38" fmla="*/ 566 w 687"/>
                <a:gd name="T39" fmla="*/ 829 h 881"/>
                <a:gd name="T40" fmla="*/ 667 w 687"/>
                <a:gd name="T41" fmla="*/ 706 h 881"/>
                <a:gd name="T42" fmla="*/ 687 w 687"/>
                <a:gd name="T43" fmla="*/ 587 h 881"/>
                <a:gd name="T44" fmla="*/ 687 w 687"/>
                <a:gd name="T45" fmla="*/ 295 h 881"/>
                <a:gd name="T46" fmla="*/ 344 w 687"/>
                <a:gd name="T47" fmla="*/ 0 h 881"/>
                <a:gd name="T48" fmla="*/ 31 w 687"/>
                <a:gd name="T49" fmla="*/ 129 h 881"/>
                <a:gd name="T50" fmla="*/ 140 w 687"/>
                <a:gd name="T51" fmla="*/ 218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7" h="881">
                  <a:moveTo>
                    <a:pt x="532" y="494"/>
                  </a:moveTo>
                  <a:lnTo>
                    <a:pt x="532" y="494"/>
                  </a:lnTo>
                  <a:lnTo>
                    <a:pt x="532" y="578"/>
                  </a:lnTo>
                  <a:cubicBezTo>
                    <a:pt x="532" y="692"/>
                    <a:pt x="484" y="737"/>
                    <a:pt x="332" y="737"/>
                  </a:cubicBezTo>
                  <a:cubicBezTo>
                    <a:pt x="181" y="737"/>
                    <a:pt x="167" y="683"/>
                    <a:pt x="161" y="663"/>
                  </a:cubicBezTo>
                  <a:cubicBezTo>
                    <a:pt x="157" y="650"/>
                    <a:pt x="155" y="635"/>
                    <a:pt x="155" y="618"/>
                  </a:cubicBezTo>
                  <a:cubicBezTo>
                    <a:pt x="155" y="509"/>
                    <a:pt x="239" y="494"/>
                    <a:pt x="321" y="494"/>
                  </a:cubicBezTo>
                  <a:lnTo>
                    <a:pt x="532" y="494"/>
                  </a:lnTo>
                  <a:lnTo>
                    <a:pt x="532" y="494"/>
                  </a:lnTo>
                  <a:close/>
                  <a:moveTo>
                    <a:pt x="140" y="218"/>
                  </a:moveTo>
                  <a:lnTo>
                    <a:pt x="140" y="218"/>
                  </a:lnTo>
                  <a:cubicBezTo>
                    <a:pt x="193" y="161"/>
                    <a:pt x="247" y="145"/>
                    <a:pt x="344" y="145"/>
                  </a:cubicBezTo>
                  <a:cubicBezTo>
                    <a:pt x="479" y="145"/>
                    <a:pt x="532" y="189"/>
                    <a:pt x="532" y="303"/>
                  </a:cubicBezTo>
                  <a:lnTo>
                    <a:pt x="532" y="356"/>
                  </a:lnTo>
                  <a:lnTo>
                    <a:pt x="312" y="356"/>
                  </a:lnTo>
                  <a:cubicBezTo>
                    <a:pt x="117" y="356"/>
                    <a:pt x="0" y="454"/>
                    <a:pt x="0" y="620"/>
                  </a:cubicBezTo>
                  <a:cubicBezTo>
                    <a:pt x="0" y="690"/>
                    <a:pt x="25" y="756"/>
                    <a:pt x="68" y="798"/>
                  </a:cubicBezTo>
                  <a:cubicBezTo>
                    <a:pt x="126" y="858"/>
                    <a:pt x="193" y="881"/>
                    <a:pt x="336" y="881"/>
                  </a:cubicBezTo>
                  <a:cubicBezTo>
                    <a:pt x="378" y="881"/>
                    <a:pt x="404" y="879"/>
                    <a:pt x="433" y="875"/>
                  </a:cubicBezTo>
                  <a:cubicBezTo>
                    <a:pt x="491" y="867"/>
                    <a:pt x="535" y="852"/>
                    <a:pt x="566" y="829"/>
                  </a:cubicBezTo>
                  <a:cubicBezTo>
                    <a:pt x="614" y="800"/>
                    <a:pt x="648" y="758"/>
                    <a:pt x="667" y="706"/>
                  </a:cubicBezTo>
                  <a:cubicBezTo>
                    <a:pt x="680" y="671"/>
                    <a:pt x="687" y="631"/>
                    <a:pt x="687" y="587"/>
                  </a:cubicBezTo>
                  <a:lnTo>
                    <a:pt x="687" y="295"/>
                  </a:lnTo>
                  <a:cubicBezTo>
                    <a:pt x="687" y="38"/>
                    <a:pt x="472" y="0"/>
                    <a:pt x="344" y="0"/>
                  </a:cubicBezTo>
                  <a:cubicBezTo>
                    <a:pt x="219" y="0"/>
                    <a:pt x="129" y="17"/>
                    <a:pt x="31" y="129"/>
                  </a:cubicBezTo>
                  <a:lnTo>
                    <a:pt x="140" y="2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1" name="Freeform 9">
              <a:extLst>
                <a:ext uri="{FF2B5EF4-FFF2-40B4-BE49-F238E27FC236}">
                  <a16:creationId xmlns:a16="http://schemas.microsoft.com/office/drawing/2014/main" id="{E9E614E6-1970-448B-1500-759C06FFC643}"/>
                </a:ext>
              </a:extLst>
            </p:cNvPr>
            <p:cNvSpPr>
              <a:spLocks/>
            </p:cNvSpPr>
            <p:nvPr userDrawn="1"/>
          </p:nvSpPr>
          <p:spPr bwMode="auto">
            <a:xfrm>
              <a:off x="1098551" y="811213"/>
              <a:ext cx="28575" cy="184150"/>
            </a:xfrm>
            <a:custGeom>
              <a:avLst/>
              <a:gdLst>
                <a:gd name="T0" fmla="*/ 0 w 177"/>
                <a:gd name="T1" fmla="*/ 0 h 1118"/>
                <a:gd name="T2" fmla="*/ 0 w 177"/>
                <a:gd name="T3" fmla="*/ 0 h 1118"/>
                <a:gd name="T4" fmla="*/ 177 w 177"/>
                <a:gd name="T5" fmla="*/ 0 h 1118"/>
                <a:gd name="T6" fmla="*/ 177 w 177"/>
                <a:gd name="T7" fmla="*/ 1118 h 1118"/>
                <a:gd name="T8" fmla="*/ 0 w 177"/>
                <a:gd name="T9" fmla="*/ 1118 h 1118"/>
                <a:gd name="T10" fmla="*/ 0 w 177"/>
                <a:gd name="T11" fmla="*/ 0 h 1118"/>
              </a:gdLst>
              <a:ahLst/>
              <a:cxnLst>
                <a:cxn ang="0">
                  <a:pos x="T0" y="T1"/>
                </a:cxn>
                <a:cxn ang="0">
                  <a:pos x="T2" y="T3"/>
                </a:cxn>
                <a:cxn ang="0">
                  <a:pos x="T4" y="T5"/>
                </a:cxn>
                <a:cxn ang="0">
                  <a:pos x="T6" y="T7"/>
                </a:cxn>
                <a:cxn ang="0">
                  <a:pos x="T8" y="T9"/>
                </a:cxn>
                <a:cxn ang="0">
                  <a:pos x="T10" y="T11"/>
                </a:cxn>
              </a:cxnLst>
              <a:rect l="0" t="0" r="r" b="b"/>
              <a:pathLst>
                <a:path w="177" h="1118">
                  <a:moveTo>
                    <a:pt x="0" y="0"/>
                  </a:moveTo>
                  <a:lnTo>
                    <a:pt x="0" y="0"/>
                  </a:lnTo>
                  <a:lnTo>
                    <a:pt x="177" y="0"/>
                  </a:lnTo>
                  <a:lnTo>
                    <a:pt x="177" y="1118"/>
                  </a:lnTo>
                  <a:lnTo>
                    <a:pt x="0" y="111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2" name="Freeform 10">
              <a:extLst>
                <a:ext uri="{FF2B5EF4-FFF2-40B4-BE49-F238E27FC236}">
                  <a16:creationId xmlns:a16="http://schemas.microsoft.com/office/drawing/2014/main" id="{A457392A-3531-BC47-42AF-E1B668775E68}"/>
                </a:ext>
              </a:extLst>
            </p:cNvPr>
            <p:cNvSpPr>
              <a:spLocks noEditPoints="1"/>
            </p:cNvSpPr>
            <p:nvPr userDrawn="1"/>
          </p:nvSpPr>
          <p:spPr bwMode="auto">
            <a:xfrm>
              <a:off x="2093913" y="852488"/>
              <a:ext cx="133350" cy="212725"/>
            </a:xfrm>
            <a:custGeom>
              <a:avLst/>
              <a:gdLst>
                <a:gd name="T0" fmla="*/ 367 w 816"/>
                <a:gd name="T1" fmla="*/ 133 h 1290"/>
                <a:gd name="T2" fmla="*/ 367 w 816"/>
                <a:gd name="T3" fmla="*/ 133 h 1290"/>
                <a:gd name="T4" fmla="*/ 552 w 816"/>
                <a:gd name="T5" fmla="*/ 310 h 1290"/>
                <a:gd name="T6" fmla="*/ 365 w 816"/>
                <a:gd name="T7" fmla="*/ 483 h 1290"/>
                <a:gd name="T8" fmla="*/ 176 w 816"/>
                <a:gd name="T9" fmla="*/ 309 h 1290"/>
                <a:gd name="T10" fmla="*/ 367 w 816"/>
                <a:gd name="T11" fmla="*/ 133 h 1290"/>
                <a:gd name="T12" fmla="*/ 367 w 816"/>
                <a:gd name="T13" fmla="*/ 133 h 1290"/>
                <a:gd name="T14" fmla="*/ 501 w 816"/>
                <a:gd name="T15" fmla="*/ 714 h 1290"/>
                <a:gd name="T16" fmla="*/ 501 w 816"/>
                <a:gd name="T17" fmla="*/ 714 h 1290"/>
                <a:gd name="T18" fmla="*/ 358 w 816"/>
                <a:gd name="T19" fmla="*/ 725 h 1290"/>
                <a:gd name="T20" fmla="*/ 218 w 816"/>
                <a:gd name="T21" fmla="*/ 663 h 1290"/>
                <a:gd name="T22" fmla="*/ 267 w 816"/>
                <a:gd name="T23" fmla="*/ 601 h 1290"/>
                <a:gd name="T24" fmla="*/ 363 w 816"/>
                <a:gd name="T25" fmla="*/ 609 h 1290"/>
                <a:gd name="T26" fmla="*/ 726 w 816"/>
                <a:gd name="T27" fmla="*/ 299 h 1290"/>
                <a:gd name="T28" fmla="*/ 683 w 816"/>
                <a:gd name="T29" fmla="*/ 148 h 1290"/>
                <a:gd name="T30" fmla="*/ 805 w 816"/>
                <a:gd name="T31" fmla="*/ 147 h 1290"/>
                <a:gd name="T32" fmla="*/ 805 w 816"/>
                <a:gd name="T33" fmla="*/ 1 h 1290"/>
                <a:gd name="T34" fmla="*/ 754 w 816"/>
                <a:gd name="T35" fmla="*/ 0 h 1290"/>
                <a:gd name="T36" fmla="*/ 748 w 816"/>
                <a:gd name="T37" fmla="*/ 0 h 1290"/>
                <a:gd name="T38" fmla="*/ 736 w 816"/>
                <a:gd name="T39" fmla="*/ 0 h 1290"/>
                <a:gd name="T40" fmla="*/ 648 w 816"/>
                <a:gd name="T41" fmla="*/ 6 h 1290"/>
                <a:gd name="T42" fmla="*/ 568 w 816"/>
                <a:gd name="T43" fmla="*/ 39 h 1290"/>
                <a:gd name="T44" fmla="*/ 519 w 816"/>
                <a:gd name="T45" fmla="*/ 20 h 1290"/>
                <a:gd name="T46" fmla="*/ 375 w 816"/>
                <a:gd name="T47" fmla="*/ 0 h 1290"/>
                <a:gd name="T48" fmla="*/ 0 w 816"/>
                <a:gd name="T49" fmla="*/ 326 h 1290"/>
                <a:gd name="T50" fmla="*/ 125 w 816"/>
                <a:gd name="T51" fmla="*/ 562 h 1290"/>
                <a:gd name="T52" fmla="*/ 24 w 816"/>
                <a:gd name="T53" fmla="*/ 707 h 1290"/>
                <a:gd name="T54" fmla="*/ 115 w 816"/>
                <a:gd name="T55" fmla="*/ 860 h 1290"/>
                <a:gd name="T56" fmla="*/ 315 w 816"/>
                <a:gd name="T57" fmla="*/ 874 h 1290"/>
                <a:gd name="T58" fmla="*/ 459 w 816"/>
                <a:gd name="T59" fmla="*/ 856 h 1290"/>
                <a:gd name="T60" fmla="*/ 633 w 816"/>
                <a:gd name="T61" fmla="*/ 976 h 1290"/>
                <a:gd name="T62" fmla="*/ 381 w 816"/>
                <a:gd name="T63" fmla="*/ 1152 h 1290"/>
                <a:gd name="T64" fmla="*/ 150 w 816"/>
                <a:gd name="T65" fmla="*/ 1021 h 1290"/>
                <a:gd name="T66" fmla="*/ 149 w 816"/>
                <a:gd name="T67" fmla="*/ 999 h 1290"/>
                <a:gd name="T68" fmla="*/ 13 w 816"/>
                <a:gd name="T69" fmla="*/ 999 h 1290"/>
                <a:gd name="T70" fmla="*/ 15 w 816"/>
                <a:gd name="T71" fmla="*/ 1048 h 1290"/>
                <a:gd name="T72" fmla="*/ 369 w 816"/>
                <a:gd name="T73" fmla="*/ 1283 h 1290"/>
                <a:gd name="T74" fmla="*/ 811 w 816"/>
                <a:gd name="T75" fmla="*/ 947 h 1290"/>
                <a:gd name="T76" fmla="*/ 501 w 816"/>
                <a:gd name="T77" fmla="*/ 714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6" h="1290">
                  <a:moveTo>
                    <a:pt x="367" y="133"/>
                  </a:moveTo>
                  <a:lnTo>
                    <a:pt x="367" y="133"/>
                  </a:lnTo>
                  <a:cubicBezTo>
                    <a:pt x="483" y="133"/>
                    <a:pt x="552" y="175"/>
                    <a:pt x="552" y="310"/>
                  </a:cubicBezTo>
                  <a:cubicBezTo>
                    <a:pt x="552" y="437"/>
                    <a:pt x="478" y="483"/>
                    <a:pt x="365" y="483"/>
                  </a:cubicBezTo>
                  <a:cubicBezTo>
                    <a:pt x="227" y="483"/>
                    <a:pt x="176" y="437"/>
                    <a:pt x="176" y="309"/>
                  </a:cubicBezTo>
                  <a:cubicBezTo>
                    <a:pt x="176" y="193"/>
                    <a:pt x="231" y="133"/>
                    <a:pt x="367" y="133"/>
                  </a:cubicBezTo>
                  <a:lnTo>
                    <a:pt x="367" y="133"/>
                  </a:lnTo>
                  <a:close/>
                  <a:moveTo>
                    <a:pt x="501" y="714"/>
                  </a:moveTo>
                  <a:lnTo>
                    <a:pt x="501" y="714"/>
                  </a:lnTo>
                  <a:lnTo>
                    <a:pt x="358" y="725"/>
                  </a:lnTo>
                  <a:cubicBezTo>
                    <a:pt x="252" y="741"/>
                    <a:pt x="216" y="730"/>
                    <a:pt x="218" y="663"/>
                  </a:cubicBezTo>
                  <a:cubicBezTo>
                    <a:pt x="219" y="639"/>
                    <a:pt x="233" y="614"/>
                    <a:pt x="267" y="601"/>
                  </a:cubicBezTo>
                  <a:cubicBezTo>
                    <a:pt x="292" y="606"/>
                    <a:pt x="331" y="609"/>
                    <a:pt x="363" y="609"/>
                  </a:cubicBezTo>
                  <a:cubicBezTo>
                    <a:pt x="599" y="609"/>
                    <a:pt x="726" y="481"/>
                    <a:pt x="726" y="299"/>
                  </a:cubicBezTo>
                  <a:cubicBezTo>
                    <a:pt x="726" y="250"/>
                    <a:pt x="711" y="196"/>
                    <a:pt x="683" y="148"/>
                  </a:cubicBezTo>
                  <a:cubicBezTo>
                    <a:pt x="712" y="143"/>
                    <a:pt x="755" y="141"/>
                    <a:pt x="805" y="147"/>
                  </a:cubicBezTo>
                  <a:lnTo>
                    <a:pt x="805" y="1"/>
                  </a:lnTo>
                  <a:cubicBezTo>
                    <a:pt x="789" y="0"/>
                    <a:pt x="772" y="0"/>
                    <a:pt x="754" y="0"/>
                  </a:cubicBezTo>
                  <a:lnTo>
                    <a:pt x="748" y="0"/>
                  </a:lnTo>
                  <a:lnTo>
                    <a:pt x="736" y="0"/>
                  </a:lnTo>
                  <a:cubicBezTo>
                    <a:pt x="706" y="0"/>
                    <a:pt x="677" y="2"/>
                    <a:pt x="648" y="6"/>
                  </a:cubicBezTo>
                  <a:cubicBezTo>
                    <a:pt x="610" y="11"/>
                    <a:pt x="588" y="21"/>
                    <a:pt x="568" y="39"/>
                  </a:cubicBezTo>
                  <a:cubicBezTo>
                    <a:pt x="557" y="33"/>
                    <a:pt x="531" y="23"/>
                    <a:pt x="519" y="20"/>
                  </a:cubicBezTo>
                  <a:cubicBezTo>
                    <a:pt x="491" y="15"/>
                    <a:pt x="426" y="0"/>
                    <a:pt x="375" y="0"/>
                  </a:cubicBezTo>
                  <a:cubicBezTo>
                    <a:pt x="135" y="0"/>
                    <a:pt x="0" y="148"/>
                    <a:pt x="0" y="326"/>
                  </a:cubicBezTo>
                  <a:cubicBezTo>
                    <a:pt x="0" y="430"/>
                    <a:pt x="43" y="516"/>
                    <a:pt x="125" y="562"/>
                  </a:cubicBezTo>
                  <a:cubicBezTo>
                    <a:pt x="66" y="587"/>
                    <a:pt x="24" y="646"/>
                    <a:pt x="24" y="707"/>
                  </a:cubicBezTo>
                  <a:cubicBezTo>
                    <a:pt x="24" y="778"/>
                    <a:pt x="63" y="836"/>
                    <a:pt x="115" y="860"/>
                  </a:cubicBezTo>
                  <a:cubicBezTo>
                    <a:pt x="192" y="895"/>
                    <a:pt x="315" y="874"/>
                    <a:pt x="315" y="874"/>
                  </a:cubicBezTo>
                  <a:lnTo>
                    <a:pt x="459" y="856"/>
                  </a:lnTo>
                  <a:cubicBezTo>
                    <a:pt x="554" y="844"/>
                    <a:pt x="631" y="904"/>
                    <a:pt x="633" y="976"/>
                  </a:cubicBezTo>
                  <a:cubicBezTo>
                    <a:pt x="636" y="1067"/>
                    <a:pt x="538" y="1152"/>
                    <a:pt x="381" y="1152"/>
                  </a:cubicBezTo>
                  <a:cubicBezTo>
                    <a:pt x="176" y="1152"/>
                    <a:pt x="152" y="1110"/>
                    <a:pt x="150" y="1021"/>
                  </a:cubicBezTo>
                  <a:cubicBezTo>
                    <a:pt x="149" y="1016"/>
                    <a:pt x="149" y="1004"/>
                    <a:pt x="149" y="999"/>
                  </a:cubicBezTo>
                  <a:lnTo>
                    <a:pt x="13" y="999"/>
                  </a:lnTo>
                  <a:cubicBezTo>
                    <a:pt x="13" y="999"/>
                    <a:pt x="14" y="1031"/>
                    <a:pt x="15" y="1048"/>
                  </a:cubicBezTo>
                  <a:cubicBezTo>
                    <a:pt x="20" y="1210"/>
                    <a:pt x="149" y="1290"/>
                    <a:pt x="369" y="1283"/>
                  </a:cubicBezTo>
                  <a:cubicBezTo>
                    <a:pt x="638" y="1275"/>
                    <a:pt x="816" y="1126"/>
                    <a:pt x="811" y="947"/>
                  </a:cubicBezTo>
                  <a:cubicBezTo>
                    <a:pt x="806" y="790"/>
                    <a:pt x="684" y="708"/>
                    <a:pt x="501" y="71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3" name="Freeform 11">
              <a:extLst>
                <a:ext uri="{FF2B5EF4-FFF2-40B4-BE49-F238E27FC236}">
                  <a16:creationId xmlns:a16="http://schemas.microsoft.com/office/drawing/2014/main" id="{60324151-AF46-311F-B23C-410A4C1FA926}"/>
                </a:ext>
              </a:extLst>
            </p:cNvPr>
            <p:cNvSpPr>
              <a:spLocks/>
            </p:cNvSpPr>
            <p:nvPr userDrawn="1"/>
          </p:nvSpPr>
          <p:spPr bwMode="auto">
            <a:xfrm>
              <a:off x="1298576" y="852488"/>
              <a:ext cx="69850" cy="142875"/>
            </a:xfrm>
            <a:custGeom>
              <a:avLst/>
              <a:gdLst>
                <a:gd name="T0" fmla="*/ 355 w 426"/>
                <a:gd name="T1" fmla="*/ 1 h 870"/>
                <a:gd name="T2" fmla="*/ 355 w 426"/>
                <a:gd name="T3" fmla="*/ 1 h 870"/>
                <a:gd name="T4" fmla="*/ 263 w 426"/>
                <a:gd name="T5" fmla="*/ 7 h 870"/>
                <a:gd name="T6" fmla="*/ 125 w 426"/>
                <a:gd name="T7" fmla="*/ 54 h 870"/>
                <a:gd name="T8" fmla="*/ 21 w 426"/>
                <a:gd name="T9" fmla="*/ 182 h 870"/>
                <a:gd name="T10" fmla="*/ 0 w 426"/>
                <a:gd name="T11" fmla="*/ 306 h 870"/>
                <a:gd name="T12" fmla="*/ 0 w 426"/>
                <a:gd name="T13" fmla="*/ 870 h 870"/>
                <a:gd name="T14" fmla="*/ 160 w 426"/>
                <a:gd name="T15" fmla="*/ 870 h 870"/>
                <a:gd name="T16" fmla="*/ 160 w 426"/>
                <a:gd name="T17" fmla="*/ 314 h 870"/>
                <a:gd name="T18" fmla="*/ 354 w 426"/>
                <a:gd name="T19" fmla="*/ 151 h 870"/>
                <a:gd name="T20" fmla="*/ 426 w 426"/>
                <a:gd name="T21" fmla="*/ 153 h 870"/>
                <a:gd name="T22" fmla="*/ 426 w 426"/>
                <a:gd name="T23" fmla="*/ 2 h 870"/>
                <a:gd name="T24" fmla="*/ 355 w 426"/>
                <a:gd name="T25" fmla="*/ 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870">
                  <a:moveTo>
                    <a:pt x="355" y="1"/>
                  </a:moveTo>
                  <a:lnTo>
                    <a:pt x="355" y="1"/>
                  </a:lnTo>
                  <a:cubicBezTo>
                    <a:pt x="323" y="1"/>
                    <a:pt x="293" y="3"/>
                    <a:pt x="263" y="7"/>
                  </a:cubicBezTo>
                  <a:cubicBezTo>
                    <a:pt x="203" y="15"/>
                    <a:pt x="158" y="31"/>
                    <a:pt x="125" y="54"/>
                  </a:cubicBezTo>
                  <a:cubicBezTo>
                    <a:pt x="76" y="85"/>
                    <a:pt x="40" y="128"/>
                    <a:pt x="21" y="182"/>
                  </a:cubicBezTo>
                  <a:cubicBezTo>
                    <a:pt x="7" y="218"/>
                    <a:pt x="0" y="260"/>
                    <a:pt x="0" y="306"/>
                  </a:cubicBezTo>
                  <a:lnTo>
                    <a:pt x="0" y="870"/>
                  </a:lnTo>
                  <a:lnTo>
                    <a:pt x="160" y="870"/>
                  </a:lnTo>
                  <a:lnTo>
                    <a:pt x="160" y="314"/>
                  </a:lnTo>
                  <a:cubicBezTo>
                    <a:pt x="160" y="196"/>
                    <a:pt x="215" y="151"/>
                    <a:pt x="354" y="151"/>
                  </a:cubicBezTo>
                  <a:cubicBezTo>
                    <a:pt x="354" y="151"/>
                    <a:pt x="393" y="149"/>
                    <a:pt x="426" y="153"/>
                  </a:cubicBezTo>
                  <a:lnTo>
                    <a:pt x="426" y="2"/>
                  </a:lnTo>
                  <a:cubicBezTo>
                    <a:pt x="401" y="0"/>
                    <a:pt x="355" y="1"/>
                    <a:pt x="355" y="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4" name="Freeform 12">
              <a:extLst>
                <a:ext uri="{FF2B5EF4-FFF2-40B4-BE49-F238E27FC236}">
                  <a16:creationId xmlns:a16="http://schemas.microsoft.com/office/drawing/2014/main" id="{BE2466F4-3A44-E9E6-C276-0E82D93201BC}"/>
                </a:ext>
              </a:extLst>
            </p:cNvPr>
            <p:cNvSpPr>
              <a:spLocks noEditPoints="1"/>
            </p:cNvSpPr>
            <p:nvPr userDrawn="1"/>
          </p:nvSpPr>
          <p:spPr bwMode="auto">
            <a:xfrm>
              <a:off x="1157288" y="811213"/>
              <a:ext cx="112713" cy="185738"/>
            </a:xfrm>
            <a:custGeom>
              <a:avLst/>
              <a:gdLst>
                <a:gd name="T0" fmla="*/ 499 w 686"/>
                <a:gd name="T1" fmla="*/ 440 h 1129"/>
                <a:gd name="T2" fmla="*/ 499 w 686"/>
                <a:gd name="T3" fmla="*/ 440 h 1129"/>
                <a:gd name="T4" fmla="*/ 514 w 686"/>
                <a:gd name="T5" fmla="*/ 462 h 1129"/>
                <a:gd name="T6" fmla="*/ 532 w 686"/>
                <a:gd name="T7" fmla="*/ 551 h 1129"/>
                <a:gd name="T8" fmla="*/ 532 w 686"/>
                <a:gd name="T9" fmla="*/ 826 h 1129"/>
                <a:gd name="T10" fmla="*/ 343 w 686"/>
                <a:gd name="T11" fmla="*/ 984 h 1129"/>
                <a:gd name="T12" fmla="*/ 155 w 686"/>
                <a:gd name="T13" fmla="*/ 826 h 1129"/>
                <a:gd name="T14" fmla="*/ 155 w 686"/>
                <a:gd name="T15" fmla="*/ 551 h 1129"/>
                <a:gd name="T16" fmla="*/ 186 w 686"/>
                <a:gd name="T17" fmla="*/ 440 h 1129"/>
                <a:gd name="T18" fmla="*/ 499 w 686"/>
                <a:gd name="T19" fmla="*/ 440 h 1129"/>
                <a:gd name="T20" fmla="*/ 499 w 686"/>
                <a:gd name="T21" fmla="*/ 440 h 1129"/>
                <a:gd name="T22" fmla="*/ 514 w 686"/>
                <a:gd name="T23" fmla="*/ 0 h 1129"/>
                <a:gd name="T24" fmla="*/ 514 w 686"/>
                <a:gd name="T25" fmla="*/ 0 h 1129"/>
                <a:gd name="T26" fmla="*/ 514 w 686"/>
                <a:gd name="T27" fmla="*/ 274 h 1129"/>
                <a:gd name="T28" fmla="*/ 342 w 686"/>
                <a:gd name="T29" fmla="*/ 248 h 1129"/>
                <a:gd name="T30" fmla="*/ 0 w 686"/>
                <a:gd name="T31" fmla="*/ 543 h 1129"/>
                <a:gd name="T32" fmla="*/ 0 w 686"/>
                <a:gd name="T33" fmla="*/ 855 h 1129"/>
                <a:gd name="T34" fmla="*/ 74 w 686"/>
                <a:gd name="T35" fmla="*/ 1040 h 1129"/>
                <a:gd name="T36" fmla="*/ 353 w 686"/>
                <a:gd name="T37" fmla="*/ 1129 h 1129"/>
                <a:gd name="T38" fmla="*/ 686 w 686"/>
                <a:gd name="T39" fmla="*/ 835 h 1129"/>
                <a:gd name="T40" fmla="*/ 686 w 686"/>
                <a:gd name="T41" fmla="*/ 0 h 1129"/>
                <a:gd name="T42" fmla="*/ 514 w 686"/>
                <a:gd name="T4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1129">
                  <a:moveTo>
                    <a:pt x="499" y="440"/>
                  </a:moveTo>
                  <a:lnTo>
                    <a:pt x="499" y="440"/>
                  </a:lnTo>
                  <a:cubicBezTo>
                    <a:pt x="505" y="447"/>
                    <a:pt x="510" y="454"/>
                    <a:pt x="514" y="462"/>
                  </a:cubicBezTo>
                  <a:cubicBezTo>
                    <a:pt x="526" y="485"/>
                    <a:pt x="532" y="514"/>
                    <a:pt x="532" y="551"/>
                  </a:cubicBezTo>
                  <a:lnTo>
                    <a:pt x="532" y="826"/>
                  </a:lnTo>
                  <a:cubicBezTo>
                    <a:pt x="532" y="939"/>
                    <a:pt x="480" y="984"/>
                    <a:pt x="343" y="984"/>
                  </a:cubicBezTo>
                  <a:cubicBezTo>
                    <a:pt x="206" y="984"/>
                    <a:pt x="159" y="937"/>
                    <a:pt x="155" y="826"/>
                  </a:cubicBezTo>
                  <a:cubicBezTo>
                    <a:pt x="150" y="704"/>
                    <a:pt x="152" y="605"/>
                    <a:pt x="155" y="551"/>
                  </a:cubicBezTo>
                  <a:cubicBezTo>
                    <a:pt x="157" y="502"/>
                    <a:pt x="164" y="466"/>
                    <a:pt x="186" y="440"/>
                  </a:cubicBezTo>
                  <a:cubicBezTo>
                    <a:pt x="236" y="381"/>
                    <a:pt x="430" y="371"/>
                    <a:pt x="499" y="440"/>
                  </a:cubicBezTo>
                  <a:lnTo>
                    <a:pt x="499" y="440"/>
                  </a:lnTo>
                  <a:close/>
                  <a:moveTo>
                    <a:pt x="514" y="0"/>
                  </a:moveTo>
                  <a:lnTo>
                    <a:pt x="514" y="0"/>
                  </a:lnTo>
                  <a:lnTo>
                    <a:pt x="514" y="274"/>
                  </a:lnTo>
                  <a:cubicBezTo>
                    <a:pt x="463" y="254"/>
                    <a:pt x="406" y="248"/>
                    <a:pt x="342" y="248"/>
                  </a:cubicBezTo>
                  <a:cubicBezTo>
                    <a:pt x="214" y="248"/>
                    <a:pt x="0" y="286"/>
                    <a:pt x="0" y="543"/>
                  </a:cubicBezTo>
                  <a:cubicBezTo>
                    <a:pt x="0" y="543"/>
                    <a:pt x="0" y="852"/>
                    <a:pt x="0" y="855"/>
                  </a:cubicBezTo>
                  <a:cubicBezTo>
                    <a:pt x="0" y="926"/>
                    <a:pt x="31" y="997"/>
                    <a:pt x="74" y="1040"/>
                  </a:cubicBezTo>
                  <a:cubicBezTo>
                    <a:pt x="122" y="1088"/>
                    <a:pt x="192" y="1129"/>
                    <a:pt x="353" y="1129"/>
                  </a:cubicBezTo>
                  <a:cubicBezTo>
                    <a:pt x="515" y="1129"/>
                    <a:pt x="686" y="1060"/>
                    <a:pt x="686" y="835"/>
                  </a:cubicBezTo>
                  <a:cubicBezTo>
                    <a:pt x="686" y="829"/>
                    <a:pt x="686" y="0"/>
                    <a:pt x="686" y="0"/>
                  </a:cubicBezTo>
                  <a:lnTo>
                    <a:pt x="5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5" name="Freeform 13">
              <a:extLst>
                <a:ext uri="{FF2B5EF4-FFF2-40B4-BE49-F238E27FC236}">
                  <a16:creationId xmlns:a16="http://schemas.microsoft.com/office/drawing/2014/main" id="{B46B731E-6376-EFDE-3765-8592679FBAED}"/>
                </a:ext>
              </a:extLst>
            </p:cNvPr>
            <p:cNvSpPr>
              <a:spLocks noEditPoints="1"/>
            </p:cNvSpPr>
            <p:nvPr userDrawn="1"/>
          </p:nvSpPr>
          <p:spPr bwMode="auto">
            <a:xfrm>
              <a:off x="830263" y="811213"/>
              <a:ext cx="234950" cy="184150"/>
            </a:xfrm>
            <a:custGeom>
              <a:avLst/>
              <a:gdLst>
                <a:gd name="T0" fmla="*/ 512 w 1431"/>
                <a:gd name="T1" fmla="*/ 483 h 1118"/>
                <a:gd name="T2" fmla="*/ 512 w 1431"/>
                <a:gd name="T3" fmla="*/ 483 h 1118"/>
                <a:gd name="T4" fmla="*/ 594 w 1431"/>
                <a:gd name="T5" fmla="*/ 321 h 1118"/>
                <a:gd name="T6" fmla="*/ 796 w 1431"/>
                <a:gd name="T7" fmla="*/ 152 h 1118"/>
                <a:gd name="T8" fmla="*/ 842 w 1431"/>
                <a:gd name="T9" fmla="*/ 152 h 1118"/>
                <a:gd name="T10" fmla="*/ 842 w 1431"/>
                <a:gd name="T11" fmla="*/ 483 h 1118"/>
                <a:gd name="T12" fmla="*/ 512 w 1431"/>
                <a:gd name="T13" fmla="*/ 483 h 1118"/>
                <a:gd name="T14" fmla="*/ 512 w 1431"/>
                <a:gd name="T15" fmla="*/ 483 h 1118"/>
                <a:gd name="T16" fmla="*/ 1189 w 1431"/>
                <a:gd name="T17" fmla="*/ 964 h 1118"/>
                <a:gd name="T18" fmla="*/ 1189 w 1431"/>
                <a:gd name="T19" fmla="*/ 964 h 1118"/>
                <a:gd name="T20" fmla="*/ 1017 w 1431"/>
                <a:gd name="T21" fmla="*/ 829 h 1118"/>
                <a:gd name="T22" fmla="*/ 1017 w 1431"/>
                <a:gd name="T23" fmla="*/ 631 h 1118"/>
                <a:gd name="T24" fmla="*/ 1403 w 1431"/>
                <a:gd name="T25" fmla="*/ 631 h 1118"/>
                <a:gd name="T26" fmla="*/ 1403 w 1431"/>
                <a:gd name="T27" fmla="*/ 483 h 1118"/>
                <a:gd name="T28" fmla="*/ 1017 w 1431"/>
                <a:gd name="T29" fmla="*/ 483 h 1118"/>
                <a:gd name="T30" fmla="*/ 1017 w 1431"/>
                <a:gd name="T31" fmla="*/ 151 h 1118"/>
                <a:gd name="T32" fmla="*/ 1403 w 1431"/>
                <a:gd name="T33" fmla="*/ 151 h 1118"/>
                <a:gd name="T34" fmla="*/ 1403 w 1431"/>
                <a:gd name="T35" fmla="*/ 0 h 1118"/>
                <a:gd name="T36" fmla="*/ 803 w 1431"/>
                <a:gd name="T37" fmla="*/ 0 h 1118"/>
                <a:gd name="T38" fmla="*/ 443 w 1431"/>
                <a:gd name="T39" fmla="*/ 263 h 1118"/>
                <a:gd name="T40" fmla="*/ 0 w 1431"/>
                <a:gd name="T41" fmla="*/ 1118 h 1118"/>
                <a:gd name="T42" fmla="*/ 192 w 1431"/>
                <a:gd name="T43" fmla="*/ 1118 h 1118"/>
                <a:gd name="T44" fmla="*/ 440 w 1431"/>
                <a:gd name="T45" fmla="*/ 625 h 1118"/>
                <a:gd name="T46" fmla="*/ 842 w 1431"/>
                <a:gd name="T47" fmla="*/ 625 h 1118"/>
                <a:gd name="T48" fmla="*/ 842 w 1431"/>
                <a:gd name="T49" fmla="*/ 856 h 1118"/>
                <a:gd name="T50" fmla="*/ 909 w 1431"/>
                <a:gd name="T51" fmla="*/ 1035 h 1118"/>
                <a:gd name="T52" fmla="*/ 1107 w 1431"/>
                <a:gd name="T53" fmla="*/ 1118 h 1118"/>
                <a:gd name="T54" fmla="*/ 1431 w 1431"/>
                <a:gd name="T55" fmla="*/ 1118 h 1118"/>
                <a:gd name="T56" fmla="*/ 1431 w 1431"/>
                <a:gd name="T57" fmla="*/ 964 h 1118"/>
                <a:gd name="T58" fmla="*/ 1189 w 1431"/>
                <a:gd name="T59" fmla="*/ 964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1" h="1118">
                  <a:moveTo>
                    <a:pt x="512" y="483"/>
                  </a:moveTo>
                  <a:lnTo>
                    <a:pt x="512" y="483"/>
                  </a:lnTo>
                  <a:lnTo>
                    <a:pt x="594" y="321"/>
                  </a:lnTo>
                  <a:cubicBezTo>
                    <a:pt x="654" y="201"/>
                    <a:pt x="722" y="152"/>
                    <a:pt x="796" y="152"/>
                  </a:cubicBezTo>
                  <a:lnTo>
                    <a:pt x="842" y="152"/>
                  </a:lnTo>
                  <a:lnTo>
                    <a:pt x="842" y="483"/>
                  </a:lnTo>
                  <a:lnTo>
                    <a:pt x="512" y="483"/>
                  </a:lnTo>
                  <a:lnTo>
                    <a:pt x="512" y="483"/>
                  </a:lnTo>
                  <a:close/>
                  <a:moveTo>
                    <a:pt x="1189" y="964"/>
                  </a:moveTo>
                  <a:lnTo>
                    <a:pt x="1189" y="964"/>
                  </a:lnTo>
                  <a:cubicBezTo>
                    <a:pt x="1065" y="960"/>
                    <a:pt x="1022" y="922"/>
                    <a:pt x="1017" y="829"/>
                  </a:cubicBezTo>
                  <a:lnTo>
                    <a:pt x="1017" y="631"/>
                  </a:lnTo>
                  <a:lnTo>
                    <a:pt x="1403" y="631"/>
                  </a:lnTo>
                  <a:lnTo>
                    <a:pt x="1403" y="483"/>
                  </a:lnTo>
                  <a:lnTo>
                    <a:pt x="1017" y="483"/>
                  </a:lnTo>
                  <a:lnTo>
                    <a:pt x="1017" y="151"/>
                  </a:lnTo>
                  <a:lnTo>
                    <a:pt x="1403" y="151"/>
                  </a:lnTo>
                  <a:lnTo>
                    <a:pt x="1403" y="0"/>
                  </a:lnTo>
                  <a:lnTo>
                    <a:pt x="803" y="0"/>
                  </a:lnTo>
                  <a:cubicBezTo>
                    <a:pt x="628" y="3"/>
                    <a:pt x="544" y="68"/>
                    <a:pt x="443" y="263"/>
                  </a:cubicBezTo>
                  <a:lnTo>
                    <a:pt x="0" y="1118"/>
                  </a:lnTo>
                  <a:lnTo>
                    <a:pt x="192" y="1118"/>
                  </a:lnTo>
                  <a:lnTo>
                    <a:pt x="440" y="625"/>
                  </a:lnTo>
                  <a:lnTo>
                    <a:pt x="842" y="625"/>
                  </a:lnTo>
                  <a:lnTo>
                    <a:pt x="842" y="856"/>
                  </a:lnTo>
                  <a:cubicBezTo>
                    <a:pt x="842" y="927"/>
                    <a:pt x="866" y="992"/>
                    <a:pt x="909" y="1035"/>
                  </a:cubicBezTo>
                  <a:cubicBezTo>
                    <a:pt x="957" y="1084"/>
                    <a:pt x="1036" y="1118"/>
                    <a:pt x="1107" y="1118"/>
                  </a:cubicBezTo>
                  <a:lnTo>
                    <a:pt x="1431" y="1118"/>
                  </a:lnTo>
                  <a:lnTo>
                    <a:pt x="1431" y="964"/>
                  </a:lnTo>
                  <a:lnTo>
                    <a:pt x="1189" y="9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16" name="Kombinationstegning: figur 25">
              <a:extLst>
                <a:ext uri="{FF2B5EF4-FFF2-40B4-BE49-F238E27FC236}">
                  <a16:creationId xmlns:a16="http://schemas.microsoft.com/office/drawing/2014/main" id="{0FA64D4B-A242-56F4-BC3A-890C6FC050E8}"/>
                </a:ext>
              </a:extLst>
            </p:cNvPr>
            <p:cNvSpPr>
              <a:spLocks/>
            </p:cNvSpPr>
            <p:nvPr userDrawn="1"/>
          </p:nvSpPr>
          <p:spPr bwMode="auto">
            <a:xfrm>
              <a:off x="1536701" y="777875"/>
              <a:ext cx="252413" cy="252413"/>
            </a:xfrm>
            <a:custGeom>
              <a:avLst/>
              <a:gdLst>
                <a:gd name="connsiteX0" fmla="*/ 129802 w 252413"/>
                <a:gd name="connsiteY0" fmla="*/ 32470 h 252413"/>
                <a:gd name="connsiteX1" fmla="*/ 127677 w 252413"/>
                <a:gd name="connsiteY1" fmla="*/ 32800 h 252413"/>
                <a:gd name="connsiteX2" fmla="*/ 125389 w 252413"/>
                <a:gd name="connsiteY2" fmla="*/ 32965 h 252413"/>
                <a:gd name="connsiteX3" fmla="*/ 124409 w 252413"/>
                <a:gd name="connsiteY3" fmla="*/ 33129 h 252413"/>
                <a:gd name="connsiteX4" fmla="*/ 121467 w 252413"/>
                <a:gd name="connsiteY4" fmla="*/ 33624 h 252413"/>
                <a:gd name="connsiteX5" fmla="*/ 117055 w 252413"/>
                <a:gd name="connsiteY5" fmla="*/ 34777 h 252413"/>
                <a:gd name="connsiteX6" fmla="*/ 115421 w 252413"/>
                <a:gd name="connsiteY6" fmla="*/ 35272 h 252413"/>
                <a:gd name="connsiteX7" fmla="*/ 114440 w 252413"/>
                <a:gd name="connsiteY7" fmla="*/ 36590 h 252413"/>
                <a:gd name="connsiteX8" fmla="*/ 116075 w 252413"/>
                <a:gd name="connsiteY8" fmla="*/ 38238 h 252413"/>
                <a:gd name="connsiteX9" fmla="*/ 117382 w 252413"/>
                <a:gd name="connsiteY9" fmla="*/ 38403 h 252413"/>
                <a:gd name="connsiteX10" fmla="*/ 125389 w 252413"/>
                <a:gd name="connsiteY10" fmla="*/ 40051 h 252413"/>
                <a:gd name="connsiteX11" fmla="*/ 127677 w 252413"/>
                <a:gd name="connsiteY11" fmla="*/ 40545 h 252413"/>
                <a:gd name="connsiteX12" fmla="*/ 154315 w 252413"/>
                <a:gd name="connsiteY12" fmla="*/ 52080 h 252413"/>
                <a:gd name="connsiteX13" fmla="*/ 180625 w 252413"/>
                <a:gd name="connsiteY13" fmla="*/ 122447 h 252413"/>
                <a:gd name="connsiteX14" fmla="*/ 148268 w 252413"/>
                <a:gd name="connsiteY14" fmla="*/ 154087 h 252413"/>
                <a:gd name="connsiteX15" fmla="*/ 120814 w 252413"/>
                <a:gd name="connsiteY15" fmla="*/ 134147 h 252413"/>
                <a:gd name="connsiteX16" fmla="*/ 121141 w 252413"/>
                <a:gd name="connsiteY16" fmla="*/ 133323 h 252413"/>
                <a:gd name="connsiteX17" fmla="*/ 121304 w 252413"/>
                <a:gd name="connsiteY17" fmla="*/ 133158 h 252413"/>
                <a:gd name="connsiteX18" fmla="*/ 121467 w 252413"/>
                <a:gd name="connsiteY18" fmla="*/ 132993 h 252413"/>
                <a:gd name="connsiteX19" fmla="*/ 122121 w 252413"/>
                <a:gd name="connsiteY19" fmla="*/ 133488 h 252413"/>
                <a:gd name="connsiteX20" fmla="*/ 123102 w 252413"/>
                <a:gd name="connsiteY20" fmla="*/ 136784 h 252413"/>
                <a:gd name="connsiteX21" fmla="*/ 136992 w 252413"/>
                <a:gd name="connsiteY21" fmla="*/ 144364 h 252413"/>
                <a:gd name="connsiteX22" fmla="*/ 139280 w 252413"/>
                <a:gd name="connsiteY22" fmla="*/ 144035 h 252413"/>
                <a:gd name="connsiteX23" fmla="*/ 152517 w 252413"/>
                <a:gd name="connsiteY23" fmla="*/ 71691 h 252413"/>
                <a:gd name="connsiteX24" fmla="*/ 37306 w 252413"/>
                <a:gd name="connsiteY24" fmla="*/ 107945 h 252413"/>
                <a:gd name="connsiteX25" fmla="*/ 42863 w 252413"/>
                <a:gd name="connsiteY25" fmla="*/ 170731 h 252413"/>
                <a:gd name="connsiteX26" fmla="*/ 121631 w 252413"/>
                <a:gd name="connsiteY26" fmla="*/ 218356 h 252413"/>
                <a:gd name="connsiteX27" fmla="*/ 124736 w 252413"/>
                <a:gd name="connsiteY27" fmla="*/ 218191 h 252413"/>
                <a:gd name="connsiteX28" fmla="*/ 127024 w 252413"/>
                <a:gd name="connsiteY28" fmla="*/ 217862 h 252413"/>
                <a:gd name="connsiteX29" fmla="*/ 131109 w 252413"/>
                <a:gd name="connsiteY29" fmla="*/ 217202 h 252413"/>
                <a:gd name="connsiteX30" fmla="*/ 135521 w 252413"/>
                <a:gd name="connsiteY30" fmla="*/ 216049 h 252413"/>
                <a:gd name="connsiteX31" fmla="*/ 136992 w 252413"/>
                <a:gd name="connsiteY31" fmla="*/ 215554 h 252413"/>
                <a:gd name="connsiteX32" fmla="*/ 137973 w 252413"/>
                <a:gd name="connsiteY32" fmla="*/ 214236 h 252413"/>
                <a:gd name="connsiteX33" fmla="*/ 136339 w 252413"/>
                <a:gd name="connsiteY33" fmla="*/ 212753 h 252413"/>
                <a:gd name="connsiteX34" fmla="*/ 135031 w 252413"/>
                <a:gd name="connsiteY34" fmla="*/ 212423 h 252413"/>
                <a:gd name="connsiteX35" fmla="*/ 127187 w 252413"/>
                <a:gd name="connsiteY35" fmla="*/ 210775 h 252413"/>
                <a:gd name="connsiteX36" fmla="*/ 124899 w 252413"/>
                <a:gd name="connsiteY36" fmla="*/ 210281 h 252413"/>
                <a:gd name="connsiteX37" fmla="*/ 98098 w 252413"/>
                <a:gd name="connsiteY37" fmla="*/ 198746 h 252413"/>
                <a:gd name="connsiteX38" fmla="*/ 71788 w 252413"/>
                <a:gd name="connsiteY38" fmla="*/ 128379 h 252413"/>
                <a:gd name="connsiteX39" fmla="*/ 104145 w 252413"/>
                <a:gd name="connsiteY39" fmla="*/ 96739 h 252413"/>
                <a:gd name="connsiteX40" fmla="*/ 131763 w 252413"/>
                <a:gd name="connsiteY40" fmla="*/ 116844 h 252413"/>
                <a:gd name="connsiteX41" fmla="*/ 131109 w 252413"/>
                <a:gd name="connsiteY41" fmla="*/ 117833 h 252413"/>
                <a:gd name="connsiteX42" fmla="*/ 130455 w 252413"/>
                <a:gd name="connsiteY42" fmla="*/ 117338 h 252413"/>
                <a:gd name="connsiteX43" fmla="*/ 129312 w 252413"/>
                <a:gd name="connsiteY43" fmla="*/ 114042 h 252413"/>
                <a:gd name="connsiteX44" fmla="*/ 115584 w 252413"/>
                <a:gd name="connsiteY44" fmla="*/ 106627 h 252413"/>
                <a:gd name="connsiteX45" fmla="*/ 113133 w 252413"/>
                <a:gd name="connsiteY45" fmla="*/ 106791 h 252413"/>
                <a:gd name="connsiteX46" fmla="*/ 99896 w 252413"/>
                <a:gd name="connsiteY46" fmla="*/ 179135 h 252413"/>
                <a:gd name="connsiteX47" fmla="*/ 215270 w 252413"/>
                <a:gd name="connsiteY47" fmla="*/ 142881 h 252413"/>
                <a:gd name="connsiteX48" fmla="*/ 209551 w 252413"/>
                <a:gd name="connsiteY48" fmla="*/ 80095 h 252413"/>
                <a:gd name="connsiteX49" fmla="*/ 130782 w 252413"/>
                <a:gd name="connsiteY49" fmla="*/ 32470 h 252413"/>
                <a:gd name="connsiteX50" fmla="*/ 129802 w 252413"/>
                <a:gd name="connsiteY50" fmla="*/ 32470 h 252413"/>
                <a:gd name="connsiteX51" fmla="*/ 126125 w 252413"/>
                <a:gd name="connsiteY51" fmla="*/ 0 h 252413"/>
                <a:gd name="connsiteX52" fmla="*/ 252413 w 252413"/>
                <a:gd name="connsiteY52" fmla="*/ 126207 h 252413"/>
                <a:gd name="connsiteX53" fmla="*/ 126125 w 252413"/>
                <a:gd name="connsiteY53" fmla="*/ 252413 h 252413"/>
                <a:gd name="connsiteX54" fmla="*/ 0 w 252413"/>
                <a:gd name="connsiteY54" fmla="*/ 126207 h 252413"/>
                <a:gd name="connsiteX55" fmla="*/ 126125 w 252413"/>
                <a:gd name="connsiteY55" fmla="*/ 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2413" h="252413">
                  <a:moveTo>
                    <a:pt x="129802" y="32470"/>
                  </a:moveTo>
                  <a:cubicBezTo>
                    <a:pt x="129148" y="32635"/>
                    <a:pt x="128331" y="32635"/>
                    <a:pt x="127677" y="32800"/>
                  </a:cubicBezTo>
                  <a:cubicBezTo>
                    <a:pt x="126860" y="32800"/>
                    <a:pt x="126207" y="32965"/>
                    <a:pt x="125389" y="32965"/>
                  </a:cubicBezTo>
                  <a:cubicBezTo>
                    <a:pt x="125063" y="33129"/>
                    <a:pt x="124736" y="33129"/>
                    <a:pt x="124409" y="33129"/>
                  </a:cubicBezTo>
                  <a:cubicBezTo>
                    <a:pt x="123428" y="33294"/>
                    <a:pt x="122448" y="33459"/>
                    <a:pt x="121467" y="33624"/>
                  </a:cubicBezTo>
                  <a:cubicBezTo>
                    <a:pt x="121304" y="33788"/>
                    <a:pt x="117382" y="34612"/>
                    <a:pt x="117055" y="34777"/>
                  </a:cubicBezTo>
                  <a:cubicBezTo>
                    <a:pt x="116728" y="34777"/>
                    <a:pt x="115584" y="35107"/>
                    <a:pt x="115421" y="35272"/>
                  </a:cubicBezTo>
                  <a:cubicBezTo>
                    <a:pt x="114931" y="35601"/>
                    <a:pt x="114440" y="36096"/>
                    <a:pt x="114440" y="36590"/>
                  </a:cubicBezTo>
                  <a:cubicBezTo>
                    <a:pt x="114440" y="37414"/>
                    <a:pt x="115094" y="37908"/>
                    <a:pt x="116075" y="38238"/>
                  </a:cubicBezTo>
                  <a:cubicBezTo>
                    <a:pt x="116075" y="38238"/>
                    <a:pt x="117055" y="38403"/>
                    <a:pt x="117382" y="38403"/>
                  </a:cubicBezTo>
                  <a:cubicBezTo>
                    <a:pt x="119180" y="38897"/>
                    <a:pt x="122775" y="39556"/>
                    <a:pt x="125389" y="40051"/>
                  </a:cubicBezTo>
                  <a:cubicBezTo>
                    <a:pt x="126207" y="40215"/>
                    <a:pt x="127024" y="40545"/>
                    <a:pt x="127677" y="40545"/>
                  </a:cubicBezTo>
                  <a:cubicBezTo>
                    <a:pt x="137156" y="42687"/>
                    <a:pt x="146307" y="46313"/>
                    <a:pt x="154315" y="52080"/>
                  </a:cubicBezTo>
                  <a:cubicBezTo>
                    <a:pt x="176213" y="67736"/>
                    <a:pt x="189287" y="94762"/>
                    <a:pt x="180625" y="122447"/>
                  </a:cubicBezTo>
                  <a:cubicBezTo>
                    <a:pt x="174579" y="142057"/>
                    <a:pt x="161015" y="151780"/>
                    <a:pt x="148268" y="154087"/>
                  </a:cubicBezTo>
                  <a:cubicBezTo>
                    <a:pt x="131926" y="157383"/>
                    <a:pt x="117055" y="148649"/>
                    <a:pt x="120814" y="134147"/>
                  </a:cubicBezTo>
                  <a:cubicBezTo>
                    <a:pt x="120814" y="133817"/>
                    <a:pt x="120977" y="133488"/>
                    <a:pt x="121141" y="133323"/>
                  </a:cubicBezTo>
                  <a:cubicBezTo>
                    <a:pt x="121141" y="133323"/>
                    <a:pt x="121141" y="133158"/>
                    <a:pt x="121304" y="133158"/>
                  </a:cubicBezTo>
                  <a:cubicBezTo>
                    <a:pt x="121304" y="132993"/>
                    <a:pt x="121467" y="132993"/>
                    <a:pt x="121467" y="132993"/>
                  </a:cubicBezTo>
                  <a:cubicBezTo>
                    <a:pt x="121794" y="132993"/>
                    <a:pt x="121958" y="133158"/>
                    <a:pt x="122121" y="133488"/>
                  </a:cubicBezTo>
                  <a:cubicBezTo>
                    <a:pt x="122121" y="133488"/>
                    <a:pt x="122611" y="135465"/>
                    <a:pt x="123102" y="136784"/>
                  </a:cubicBezTo>
                  <a:cubicBezTo>
                    <a:pt x="125880" y="142222"/>
                    <a:pt x="131273" y="144364"/>
                    <a:pt x="136992" y="144364"/>
                  </a:cubicBezTo>
                  <a:cubicBezTo>
                    <a:pt x="137809" y="144199"/>
                    <a:pt x="138463" y="144199"/>
                    <a:pt x="139280" y="144035"/>
                  </a:cubicBezTo>
                  <a:cubicBezTo>
                    <a:pt x="173435" y="139750"/>
                    <a:pt x="175723" y="93114"/>
                    <a:pt x="152517" y="71691"/>
                  </a:cubicBezTo>
                  <a:cubicBezTo>
                    <a:pt x="113460" y="35272"/>
                    <a:pt x="50216" y="56859"/>
                    <a:pt x="37306" y="107945"/>
                  </a:cubicBezTo>
                  <a:cubicBezTo>
                    <a:pt x="31750" y="125907"/>
                    <a:pt x="32567" y="147330"/>
                    <a:pt x="42863" y="170731"/>
                  </a:cubicBezTo>
                  <a:cubicBezTo>
                    <a:pt x="55609" y="199075"/>
                    <a:pt x="88130" y="220663"/>
                    <a:pt x="121631" y="218356"/>
                  </a:cubicBezTo>
                  <a:cubicBezTo>
                    <a:pt x="121958" y="218356"/>
                    <a:pt x="124082" y="218191"/>
                    <a:pt x="124736" y="218191"/>
                  </a:cubicBezTo>
                  <a:cubicBezTo>
                    <a:pt x="125553" y="218026"/>
                    <a:pt x="126370" y="217862"/>
                    <a:pt x="127024" y="217862"/>
                  </a:cubicBezTo>
                  <a:cubicBezTo>
                    <a:pt x="127351" y="217862"/>
                    <a:pt x="129965" y="217367"/>
                    <a:pt x="131109" y="217202"/>
                  </a:cubicBezTo>
                  <a:cubicBezTo>
                    <a:pt x="131109" y="217202"/>
                    <a:pt x="135195" y="216214"/>
                    <a:pt x="135521" y="216049"/>
                  </a:cubicBezTo>
                  <a:cubicBezTo>
                    <a:pt x="135848" y="216049"/>
                    <a:pt x="136829" y="215719"/>
                    <a:pt x="136992" y="215554"/>
                  </a:cubicBezTo>
                  <a:cubicBezTo>
                    <a:pt x="137483" y="215225"/>
                    <a:pt x="137973" y="214895"/>
                    <a:pt x="137973" y="214236"/>
                  </a:cubicBezTo>
                  <a:cubicBezTo>
                    <a:pt x="137973" y="213412"/>
                    <a:pt x="137319" y="212918"/>
                    <a:pt x="136339" y="212753"/>
                  </a:cubicBezTo>
                  <a:cubicBezTo>
                    <a:pt x="136339" y="212753"/>
                    <a:pt x="135521" y="212423"/>
                    <a:pt x="135031" y="212423"/>
                  </a:cubicBezTo>
                  <a:cubicBezTo>
                    <a:pt x="133234" y="212094"/>
                    <a:pt x="129638" y="211270"/>
                    <a:pt x="127187" y="210775"/>
                  </a:cubicBezTo>
                  <a:cubicBezTo>
                    <a:pt x="126207" y="210611"/>
                    <a:pt x="125553" y="210446"/>
                    <a:pt x="124899" y="210281"/>
                  </a:cubicBezTo>
                  <a:cubicBezTo>
                    <a:pt x="115421" y="208139"/>
                    <a:pt x="106269" y="204513"/>
                    <a:pt x="98098" y="198746"/>
                  </a:cubicBezTo>
                  <a:cubicBezTo>
                    <a:pt x="76200" y="183090"/>
                    <a:pt x="63127" y="156064"/>
                    <a:pt x="71788" y="128379"/>
                  </a:cubicBezTo>
                  <a:cubicBezTo>
                    <a:pt x="77998" y="108769"/>
                    <a:pt x="91398" y="99211"/>
                    <a:pt x="104145" y="96739"/>
                  </a:cubicBezTo>
                  <a:cubicBezTo>
                    <a:pt x="120487" y="93608"/>
                    <a:pt x="135521" y="102177"/>
                    <a:pt x="131763" y="116844"/>
                  </a:cubicBezTo>
                  <a:cubicBezTo>
                    <a:pt x="131599" y="117503"/>
                    <a:pt x="131273" y="117833"/>
                    <a:pt x="131109" y="117833"/>
                  </a:cubicBezTo>
                  <a:cubicBezTo>
                    <a:pt x="130782" y="117833"/>
                    <a:pt x="130455" y="117338"/>
                    <a:pt x="130455" y="117338"/>
                  </a:cubicBezTo>
                  <a:cubicBezTo>
                    <a:pt x="130455" y="117338"/>
                    <a:pt x="129965" y="115361"/>
                    <a:pt x="129312" y="114042"/>
                  </a:cubicBezTo>
                  <a:cubicBezTo>
                    <a:pt x="126533" y="108604"/>
                    <a:pt x="121141" y="106462"/>
                    <a:pt x="115584" y="106627"/>
                  </a:cubicBezTo>
                  <a:cubicBezTo>
                    <a:pt x="114767" y="106627"/>
                    <a:pt x="113950" y="106627"/>
                    <a:pt x="113133" y="106791"/>
                  </a:cubicBezTo>
                  <a:cubicBezTo>
                    <a:pt x="78978" y="111076"/>
                    <a:pt x="76854" y="157877"/>
                    <a:pt x="99896" y="179135"/>
                  </a:cubicBezTo>
                  <a:cubicBezTo>
                    <a:pt x="139117" y="215554"/>
                    <a:pt x="202360" y="194131"/>
                    <a:pt x="215270" y="142881"/>
                  </a:cubicBezTo>
                  <a:cubicBezTo>
                    <a:pt x="220663" y="124919"/>
                    <a:pt x="220009" y="103496"/>
                    <a:pt x="209551" y="80095"/>
                  </a:cubicBezTo>
                  <a:cubicBezTo>
                    <a:pt x="196967" y="51916"/>
                    <a:pt x="164447" y="30163"/>
                    <a:pt x="130782" y="32470"/>
                  </a:cubicBezTo>
                  <a:cubicBezTo>
                    <a:pt x="130455" y="32470"/>
                    <a:pt x="130129" y="32470"/>
                    <a:pt x="129802" y="32470"/>
                  </a:cubicBezTo>
                  <a:close/>
                  <a:moveTo>
                    <a:pt x="126125" y="0"/>
                  </a:moveTo>
                  <a:cubicBezTo>
                    <a:pt x="195829" y="0"/>
                    <a:pt x="252413" y="56457"/>
                    <a:pt x="252413" y="126207"/>
                  </a:cubicBezTo>
                  <a:cubicBezTo>
                    <a:pt x="252413" y="195957"/>
                    <a:pt x="195829" y="252413"/>
                    <a:pt x="126125" y="252413"/>
                  </a:cubicBezTo>
                  <a:cubicBezTo>
                    <a:pt x="56420" y="252413"/>
                    <a:pt x="0" y="195957"/>
                    <a:pt x="0" y="126207"/>
                  </a:cubicBezTo>
                  <a:cubicBezTo>
                    <a:pt x="0" y="56457"/>
                    <a:pt x="56420" y="0"/>
                    <a:pt x="1261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da-DK">
                <a:solidFill>
                  <a:sysClr val="windowText" lastClr="000000"/>
                </a:solidFill>
              </a:endParaRPr>
            </a:p>
          </p:txBody>
        </p:sp>
        <p:sp>
          <p:nvSpPr>
            <p:cNvPr id="17" name="Freeform 16">
              <a:extLst>
                <a:ext uri="{FF2B5EF4-FFF2-40B4-BE49-F238E27FC236}">
                  <a16:creationId xmlns:a16="http://schemas.microsoft.com/office/drawing/2014/main" id="{30C90425-B8E0-6A02-A2BE-214C67B9446E}"/>
                </a:ext>
              </a:extLst>
            </p:cNvPr>
            <p:cNvSpPr>
              <a:spLocks/>
            </p:cNvSpPr>
            <p:nvPr userDrawn="1"/>
          </p:nvSpPr>
          <p:spPr bwMode="auto">
            <a:xfrm>
              <a:off x="2382838" y="852488"/>
              <a:ext cx="112713" cy="142875"/>
            </a:xfrm>
            <a:custGeom>
              <a:avLst/>
              <a:gdLst>
                <a:gd name="T0" fmla="*/ 666 w 686"/>
                <a:gd name="T1" fmla="*/ 176 h 871"/>
                <a:gd name="T2" fmla="*/ 666 w 686"/>
                <a:gd name="T3" fmla="*/ 176 h 871"/>
                <a:gd name="T4" fmla="*/ 647 w 686"/>
                <a:gd name="T5" fmla="*/ 136 h 871"/>
                <a:gd name="T6" fmla="*/ 647 w 686"/>
                <a:gd name="T7" fmla="*/ 136 h 871"/>
                <a:gd name="T8" fmla="*/ 346 w 686"/>
                <a:gd name="T9" fmla="*/ 0 h 871"/>
                <a:gd name="T10" fmla="*/ 253 w 686"/>
                <a:gd name="T11" fmla="*/ 7 h 871"/>
                <a:gd name="T12" fmla="*/ 120 w 686"/>
                <a:gd name="T13" fmla="*/ 52 h 871"/>
                <a:gd name="T14" fmla="*/ 37 w 686"/>
                <a:gd name="T15" fmla="*/ 136 h 871"/>
                <a:gd name="T16" fmla="*/ 38 w 686"/>
                <a:gd name="T17" fmla="*/ 136 h 871"/>
                <a:gd name="T18" fmla="*/ 19 w 686"/>
                <a:gd name="T19" fmla="*/ 175 h 871"/>
                <a:gd name="T20" fmla="*/ 0 w 686"/>
                <a:gd name="T21" fmla="*/ 295 h 871"/>
                <a:gd name="T22" fmla="*/ 0 w 686"/>
                <a:gd name="T23" fmla="*/ 871 h 871"/>
                <a:gd name="T24" fmla="*/ 154 w 686"/>
                <a:gd name="T25" fmla="*/ 871 h 871"/>
                <a:gd name="T26" fmla="*/ 154 w 686"/>
                <a:gd name="T27" fmla="*/ 303 h 871"/>
                <a:gd name="T28" fmla="*/ 327 w 686"/>
                <a:gd name="T29" fmla="*/ 145 h 871"/>
                <a:gd name="T30" fmla="*/ 338 w 686"/>
                <a:gd name="T31" fmla="*/ 145 h 871"/>
                <a:gd name="T32" fmla="*/ 498 w 686"/>
                <a:gd name="T33" fmla="*/ 191 h 871"/>
                <a:gd name="T34" fmla="*/ 501 w 686"/>
                <a:gd name="T35" fmla="*/ 194 h 871"/>
                <a:gd name="T36" fmla="*/ 504 w 686"/>
                <a:gd name="T37" fmla="*/ 199 h 871"/>
                <a:gd name="T38" fmla="*/ 530 w 686"/>
                <a:gd name="T39" fmla="*/ 275 h 871"/>
                <a:gd name="T40" fmla="*/ 531 w 686"/>
                <a:gd name="T41" fmla="*/ 303 h 871"/>
                <a:gd name="T42" fmla="*/ 531 w 686"/>
                <a:gd name="T43" fmla="*/ 871 h 871"/>
                <a:gd name="T44" fmla="*/ 686 w 686"/>
                <a:gd name="T45" fmla="*/ 871 h 871"/>
                <a:gd name="T46" fmla="*/ 686 w 686"/>
                <a:gd name="T47" fmla="*/ 295 h 871"/>
                <a:gd name="T48" fmla="*/ 666 w 686"/>
                <a:gd name="T49" fmla="*/ 17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871">
                  <a:moveTo>
                    <a:pt x="666" y="176"/>
                  </a:moveTo>
                  <a:lnTo>
                    <a:pt x="666" y="176"/>
                  </a:lnTo>
                  <a:cubicBezTo>
                    <a:pt x="661" y="162"/>
                    <a:pt x="655" y="148"/>
                    <a:pt x="647" y="136"/>
                  </a:cubicBezTo>
                  <a:lnTo>
                    <a:pt x="647" y="136"/>
                  </a:lnTo>
                  <a:cubicBezTo>
                    <a:pt x="580" y="23"/>
                    <a:pt x="440" y="1"/>
                    <a:pt x="346" y="0"/>
                  </a:cubicBezTo>
                  <a:cubicBezTo>
                    <a:pt x="306" y="0"/>
                    <a:pt x="281" y="3"/>
                    <a:pt x="253" y="7"/>
                  </a:cubicBezTo>
                  <a:cubicBezTo>
                    <a:pt x="195" y="14"/>
                    <a:pt x="151" y="30"/>
                    <a:pt x="120" y="52"/>
                  </a:cubicBezTo>
                  <a:cubicBezTo>
                    <a:pt x="85" y="74"/>
                    <a:pt x="57" y="102"/>
                    <a:pt x="37" y="136"/>
                  </a:cubicBezTo>
                  <a:lnTo>
                    <a:pt x="38" y="136"/>
                  </a:lnTo>
                  <a:cubicBezTo>
                    <a:pt x="30" y="148"/>
                    <a:pt x="24" y="161"/>
                    <a:pt x="19" y="175"/>
                  </a:cubicBezTo>
                  <a:cubicBezTo>
                    <a:pt x="6" y="210"/>
                    <a:pt x="0" y="250"/>
                    <a:pt x="0" y="295"/>
                  </a:cubicBezTo>
                  <a:lnTo>
                    <a:pt x="0" y="871"/>
                  </a:lnTo>
                  <a:lnTo>
                    <a:pt x="154" y="871"/>
                  </a:lnTo>
                  <a:lnTo>
                    <a:pt x="154" y="303"/>
                  </a:lnTo>
                  <a:cubicBezTo>
                    <a:pt x="154" y="196"/>
                    <a:pt x="197" y="151"/>
                    <a:pt x="327" y="145"/>
                  </a:cubicBezTo>
                  <a:cubicBezTo>
                    <a:pt x="332" y="145"/>
                    <a:pt x="339" y="145"/>
                    <a:pt x="338" y="145"/>
                  </a:cubicBezTo>
                  <a:cubicBezTo>
                    <a:pt x="419" y="146"/>
                    <a:pt x="469" y="160"/>
                    <a:pt x="498" y="191"/>
                  </a:cubicBezTo>
                  <a:cubicBezTo>
                    <a:pt x="499" y="192"/>
                    <a:pt x="500" y="193"/>
                    <a:pt x="501" y="194"/>
                  </a:cubicBezTo>
                  <a:cubicBezTo>
                    <a:pt x="502" y="196"/>
                    <a:pt x="503" y="197"/>
                    <a:pt x="504" y="199"/>
                  </a:cubicBezTo>
                  <a:cubicBezTo>
                    <a:pt x="519" y="218"/>
                    <a:pt x="527" y="243"/>
                    <a:pt x="530" y="275"/>
                  </a:cubicBezTo>
                  <a:cubicBezTo>
                    <a:pt x="531" y="284"/>
                    <a:pt x="531" y="293"/>
                    <a:pt x="531" y="303"/>
                  </a:cubicBezTo>
                  <a:lnTo>
                    <a:pt x="531" y="871"/>
                  </a:lnTo>
                  <a:lnTo>
                    <a:pt x="686" y="871"/>
                  </a:lnTo>
                  <a:lnTo>
                    <a:pt x="686" y="295"/>
                  </a:lnTo>
                  <a:cubicBezTo>
                    <a:pt x="686" y="251"/>
                    <a:pt x="679" y="211"/>
                    <a:pt x="666" y="17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5926066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bg2"/>
        </a:solidFill>
        <a:effectLst/>
      </p:bgPr>
    </p:bg>
    <p:spTree>
      <p:nvGrpSpPr>
        <p:cNvPr id="1" name=""/>
        <p:cNvGrpSpPr/>
        <p:nvPr/>
      </p:nvGrpSpPr>
      <p:grpSpPr>
        <a:xfrm>
          <a:off x="0" y="0"/>
          <a:ext cx="0" cy="0"/>
          <a:chOff x="0" y="0"/>
          <a:chExt cx="0" cy="0"/>
        </a:xfrm>
      </p:grpSpPr>
      <p:pic>
        <p:nvPicPr>
          <p:cNvPr id="2" name="ÆS_logo_POS_CMYK.pdf">
            <a:extLst>
              <a:ext uri="{FF2B5EF4-FFF2-40B4-BE49-F238E27FC236}">
                <a16:creationId xmlns:a16="http://schemas.microsoft.com/office/drawing/2014/main" id="{8279718C-33AA-1D63-F4AE-507BFFAAA5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2" r="152"/>
          <a:stretch/>
        </p:blipFill>
        <p:spPr>
          <a:xfrm>
            <a:off x="4198901" y="3001824"/>
            <a:ext cx="3794197" cy="654672"/>
          </a:xfrm>
          <a:prstGeom prst="rect">
            <a:avLst/>
          </a:prstGeom>
          <a:ln w="12700">
            <a:miter lim="400000"/>
          </a:ln>
        </p:spPr>
      </p:pic>
    </p:spTree>
    <p:extLst>
      <p:ext uri="{BB962C8B-B14F-4D97-AF65-F5344CB8AC3E}">
        <p14:creationId xmlns:p14="http://schemas.microsoft.com/office/powerpoint/2010/main" val="28384666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Brugerdefineret layout">
    <p:bg>
      <p:bgPr>
        <a:solidFill>
          <a:srgbClr val="E0B362"/>
        </a:solidFill>
        <a:effectLst/>
      </p:bgPr>
    </p:bg>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E6E6FBE5-FD89-5517-7C26-F9DBB9ADF36A}"/>
              </a:ext>
            </a:extLst>
          </p:cNvPr>
          <p:cNvSpPr txBox="1"/>
          <p:nvPr userDrawn="1">
            <p:custDataLst>
              <p:tags r:id="rId1"/>
            </p:custDataLst>
          </p:nvPr>
        </p:nvSpPr>
        <p:spPr>
          <a:xfrm>
            <a:off x="477837" y="1958975"/>
            <a:ext cx="11234737" cy="2431435"/>
          </a:xfrm>
          <a:prstGeom prst="rect">
            <a:avLst/>
          </a:prstGeom>
          <a:noFill/>
          <a:ln w="12700">
            <a:miter lim="400000"/>
          </a:ln>
        </p:spPr>
        <p:txBody>
          <a:bodyPr wrap="square" lIns="0" tIns="0" rIns="0" bIns="0" rtlCol="0">
            <a:spAutoFit/>
          </a:bodyPr>
          <a:lstStyle/>
          <a:p>
            <a:pPr algn="ctr"/>
            <a:r>
              <a:rPr lang="da-DK" sz="4800" kern="1200">
                <a:solidFill>
                  <a:srgbClr val="192B37"/>
                </a:solidFill>
                <a:latin typeface="+mj-lt"/>
                <a:ea typeface="IBM Plex Sans" panose="020B0503050203000203" pitchFamily="34" charset="0"/>
                <a:cs typeface="+mj-cs"/>
              </a:rPr>
              <a:t>Brug ikke masterlayouts, </a:t>
            </a:r>
            <a:br>
              <a:rPr lang="da-DK" sz="4800" kern="1200">
                <a:solidFill>
                  <a:srgbClr val="192B37"/>
                </a:solidFill>
                <a:latin typeface="+mj-lt"/>
                <a:ea typeface="IBM Plex Sans" panose="020B0503050203000203" pitchFamily="34" charset="0"/>
                <a:cs typeface="+mj-cs"/>
              </a:rPr>
            </a:br>
            <a:r>
              <a:rPr lang="da-DK" sz="4800" kern="1200">
                <a:solidFill>
                  <a:srgbClr val="192B37"/>
                </a:solidFill>
                <a:latin typeface="+mj-lt"/>
                <a:ea typeface="IBM Plex Sans" panose="020B0503050203000203" pitchFamily="34" charset="0"/>
                <a:cs typeface="+mj-cs"/>
              </a:rPr>
              <a:t>der ligger efter dette</a:t>
            </a:r>
          </a:p>
          <a:p>
            <a:pPr algn="ctr"/>
            <a:endParaRPr lang="da-DK" sz="1100" b="1">
              <a:solidFill>
                <a:srgbClr val="192B37"/>
              </a:solidFill>
            </a:endParaRPr>
          </a:p>
          <a:p>
            <a:pPr algn="ctr">
              <a:spcBef>
                <a:spcPts val="1800"/>
              </a:spcBef>
            </a:pPr>
            <a:r>
              <a:rPr lang="da-DK" sz="1800">
                <a:solidFill>
                  <a:srgbClr val="192B37"/>
                </a:solidFill>
              </a:rPr>
              <a:t>Slides i præsentationen efter denne er fra den præsentation, du har kopieret slides fra </a:t>
            </a:r>
            <a:br>
              <a:rPr lang="da-DK" sz="1800">
                <a:solidFill>
                  <a:schemeClr val="bg1"/>
                </a:solidFill>
              </a:rPr>
            </a:br>
            <a:r>
              <a:rPr lang="da-DK" sz="1800">
                <a:solidFill>
                  <a:srgbClr val="B94335"/>
                </a:solidFill>
              </a:rPr>
              <a:t>Slet layout fra masteren og brug et af de eksisterende layouts (før dette slide)</a:t>
            </a:r>
          </a:p>
        </p:txBody>
      </p:sp>
    </p:spTree>
    <p:extLst>
      <p:ext uri="{BB962C8B-B14F-4D97-AF65-F5344CB8AC3E}">
        <p14:creationId xmlns:p14="http://schemas.microsoft.com/office/powerpoint/2010/main" val="20487327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chor="t">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8" name="Pladsholder til indhold 5"/>
          <p:cNvSpPr>
            <a:spLocks noGrp="1"/>
          </p:cNvSpPr>
          <p:nvPr>
            <p:ph sz="quarter" idx="14" hasCustomPrompt="1"/>
          </p:nvPr>
        </p:nvSpPr>
        <p:spPr>
          <a:xfrm>
            <a:off x="476251" y="1919883"/>
            <a:ext cx="5459763" cy="4286250"/>
          </a:xfrm>
        </p:spPr>
        <p:txBody>
          <a:bodyPr vert="horz" anchor="t">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titeltypografien i masteren</a:t>
            </a:r>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455998940"/>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fld id="{C128FA71-3A18-48C0-980F-4B68F7F63042}" type="datetime1">
              <a:rPr lang="en-US" smtClean="0"/>
              <a:t>9/16/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1305042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a:ln w="12700">
            <a:miter lim="400000"/>
          </a:ln>
        </p:spPr>
        <p:txBody>
          <a:bodyPr vert="horz" lIns="0" tIns="0" rIns="0" bIns="0" anchor="ctr">
            <a:noAutofit/>
          </a:bodyPr>
          <a:lstStyle>
            <a:lvl1pPr>
              <a:defRPr lang="da-DK" sz="3600"/>
            </a:lvl1pPr>
          </a:lstStyle>
          <a:p>
            <a:pPr lvl="0">
              <a:spcBef>
                <a:spcPts val="0"/>
              </a:spcBef>
            </a:pPr>
            <a:r>
              <a:rPr lang="da-DK"/>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spTree>
    <p:extLst>
      <p:ext uri="{BB962C8B-B14F-4D97-AF65-F5344CB8AC3E}">
        <p14:creationId xmlns:p14="http://schemas.microsoft.com/office/powerpoint/2010/main" val="3688849767"/>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Klik for at tilføje tekst</a:t>
            </a:r>
          </a:p>
        </p:txBody>
      </p:sp>
      <p:sp>
        <p:nvSpPr>
          <p:cNvPr id="3" name="Pladsholder til indhold 2"/>
          <p:cNvSpPr>
            <a:spLocks noGrp="1"/>
          </p:cNvSpPr>
          <p:nvPr>
            <p:ph sz="quarter" idx="12" hasCustomPrompt="1"/>
          </p:nvPr>
        </p:nvSpPr>
        <p:spPr>
          <a:xfrm>
            <a:off x="1016001" y="1875119"/>
            <a:ext cx="10708217" cy="4340411"/>
          </a:xfrm>
        </p:spPr>
        <p:txBody>
          <a:bodyPr vert="horz" anchor="t"/>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2" name="Titel 1"/>
          <p:cNvSpPr>
            <a:spLocks noGrp="1"/>
          </p:cNvSpPr>
          <p:nvPr>
            <p:ph type="title" hasCustomPrompt="1"/>
          </p:nvPr>
        </p:nvSpPr>
        <p:spPr/>
        <p:txBody>
          <a:bodyPr>
            <a:normAutofit/>
          </a:bodyPr>
          <a:lstStyle>
            <a:lvl1pPr>
              <a:defRPr sz="4900"/>
            </a:lvl1pPr>
          </a:lstStyle>
          <a:p>
            <a:r>
              <a:rPr lang="da-DK"/>
              <a:t>Klik for at tilføje tekst</a:t>
            </a:r>
          </a:p>
        </p:txBody>
      </p:sp>
      <p:sp>
        <p:nvSpPr>
          <p:cNvPr id="4" name="Pladsholder til diasnummer 3"/>
          <p:cNvSpPr>
            <a:spLocks noGrp="1"/>
          </p:cNvSpPr>
          <p:nvPr>
            <p:ph type="sldNum" sz="quarter" idx="13"/>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29745437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chor="t">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a:t>Klik for at tilføje tekst</a:t>
            </a:r>
            <a:endParaRPr lang="da-DK" sz="2200">
              <a:solidFill>
                <a:srgbClr val="414141"/>
              </a:solidFill>
            </a:endParaRP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9" name="Pladsholder til indhold 5"/>
          <p:cNvSpPr>
            <a:spLocks noGrp="1"/>
          </p:cNvSpPr>
          <p:nvPr>
            <p:ph sz="quarter" idx="14" hasCustomPrompt="1"/>
          </p:nvPr>
        </p:nvSpPr>
        <p:spPr>
          <a:xfrm>
            <a:off x="476251" y="1919883"/>
            <a:ext cx="5459763" cy="4286250"/>
          </a:xfrm>
        </p:spPr>
        <p:txBody>
          <a:bodyPr vert="horz" anchor="t">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2" name="Titel 1"/>
          <p:cNvSpPr>
            <a:spLocks noGrp="1"/>
          </p:cNvSpPr>
          <p:nvPr>
            <p:ph type="title" hasCustomPrompt="1"/>
          </p:nvPr>
        </p:nvSpPr>
        <p:spPr>
          <a:xfrm>
            <a:off x="484210" y="234619"/>
            <a:ext cx="11229673" cy="972000"/>
          </a:xfrm>
        </p:spPr>
        <p:txBody>
          <a:bodyPr>
            <a:normAutofit/>
          </a:bodyPr>
          <a:lstStyle>
            <a:lvl1pPr>
              <a:defRPr sz="4900"/>
            </a:lvl1pPr>
          </a:lstStyle>
          <a:p>
            <a:pPr lvl="0"/>
            <a:r>
              <a:rPr lang="da-DK"/>
              <a:t>Klik for at tilføje tekst</a:t>
            </a:r>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61284934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chor="t">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8" name="Pladsholder til indhold 5"/>
          <p:cNvSpPr>
            <a:spLocks noGrp="1"/>
          </p:cNvSpPr>
          <p:nvPr>
            <p:ph sz="quarter" idx="14" hasCustomPrompt="1"/>
          </p:nvPr>
        </p:nvSpPr>
        <p:spPr>
          <a:xfrm>
            <a:off x="476251" y="1919883"/>
            <a:ext cx="5459763" cy="4286250"/>
          </a:xfrm>
        </p:spPr>
        <p:txBody>
          <a:bodyPr vert="horz" anchor="t">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titeltypografien i masteren</a:t>
            </a:r>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28673410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a:t>Klik for at tilføje tekst</a:t>
            </a:r>
          </a:p>
          <a:p>
            <a:pPr lvl="1">
              <a:defRPr sz="1800">
                <a:solidFill>
                  <a:srgbClr val="000000"/>
                </a:solidFill>
              </a:defRPr>
            </a:pPr>
            <a:r>
              <a:rPr lang="da-DK" sz="1700">
                <a:solidFill>
                  <a:srgbClr val="414141"/>
                </a:solidFill>
              </a:rPr>
              <a:t>Andet niveau</a:t>
            </a:r>
          </a:p>
          <a:p>
            <a:pPr lvl="2">
              <a:defRPr sz="1800">
                <a:solidFill>
                  <a:srgbClr val="000000"/>
                </a:solidFill>
              </a:defRPr>
            </a:pPr>
            <a:r>
              <a:rPr lang="da-DK" sz="1700">
                <a:solidFill>
                  <a:srgbClr val="414141"/>
                </a:solidFill>
              </a:rPr>
              <a:t>Tredje niveau</a:t>
            </a:r>
          </a:p>
        </p:txBody>
      </p:sp>
      <p:sp>
        <p:nvSpPr>
          <p:cNvPr id="9" name="Pladsholder til tekst 2"/>
          <p:cNvSpPr>
            <a:spLocks noGrp="1"/>
          </p:cNvSpPr>
          <p:nvPr>
            <p:ph type="body" sz="quarter" idx="12" hasCustomPrompt="1"/>
          </p:nvPr>
        </p:nvSpPr>
        <p:spPr>
          <a:xfrm>
            <a:off x="507861" y="1646702"/>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a:t>Klik for at tilføje tekst</a:t>
            </a:r>
          </a:p>
        </p:txBody>
      </p:sp>
      <p:sp>
        <p:nvSpPr>
          <p:cNvPr id="3" name="Pladsholder til indhold 2"/>
          <p:cNvSpPr>
            <a:spLocks noGrp="1"/>
          </p:cNvSpPr>
          <p:nvPr>
            <p:ph sz="quarter" idx="13" hasCustomPrompt="1"/>
          </p:nvPr>
        </p:nvSpPr>
        <p:spPr>
          <a:xfrm>
            <a:off x="6096001" y="333375"/>
            <a:ext cx="5617633" cy="5881688"/>
          </a:xfrm>
        </p:spPr>
        <p:txBody>
          <a:bodyPr anchor="t"/>
          <a:lstStyle>
            <a:lvl1pPr algn="l">
              <a:defRPr/>
            </a:lvl1pPr>
            <a:lvl2pPr algn="l">
              <a:defRPr/>
            </a:lvl2pPr>
            <a:lvl3pPr algn="l">
              <a:defRPr/>
            </a:lvl3pPr>
            <a:lvl4pPr algn="l">
              <a:defRPr/>
            </a:lvl4pPr>
            <a:lvl5pPr algn="l">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pic>
        <p:nvPicPr>
          <p:cNvPr id="10"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2" name="Pladsholder til diasnummer 1"/>
          <p:cNvSpPr>
            <a:spLocks noGrp="1"/>
          </p:cNvSpPr>
          <p:nvPr>
            <p:ph type="sldNum" sz="quarter" idx="14"/>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361730566"/>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nchor="t"/>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sp>
        <p:nvSpPr>
          <p:cNvPr id="4" name="Pladsholder til diasnummer 3"/>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68393391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nchor="t"/>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sp>
        <p:nvSpPr>
          <p:cNvPr id="4"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Rediger typografien i masteren</a:t>
            </a:r>
          </a:p>
        </p:txBody>
      </p:sp>
      <p:sp>
        <p:nvSpPr>
          <p:cNvPr id="5" name="Pladsholder til diasnummer 4"/>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82711768"/>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0"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3" name="Shape 3"/>
          <p:cNvSpPr/>
          <p:nvPr/>
        </p:nvSpPr>
        <p:spPr>
          <a:xfrm>
            <a:off x="476250"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4900">
                <a:solidFill>
                  <a:srgbClr val="B3242A"/>
                </a:solidFill>
              </a:rPr>
              <a:t>Titeltekst</a:t>
            </a:r>
            <a:endParaRPr sz="4900">
              <a:solidFill>
                <a:srgbClr val="B3242A"/>
              </a:solidFill>
            </a:endParaRPr>
          </a:p>
        </p:txBody>
      </p:sp>
      <p:sp>
        <p:nvSpPr>
          <p:cNvPr id="5" name="Shape 5"/>
          <p:cNvSpPr>
            <a:spLocks noGrp="1"/>
          </p:cNvSpPr>
          <p:nvPr>
            <p:ph type="body" idx="1"/>
          </p:nvPr>
        </p:nvSpPr>
        <p:spPr>
          <a:xfrm>
            <a:off x="1032573"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rmAutofit/>
          </a:bodyPr>
          <a:lstStyle/>
          <a:p>
            <a:pPr lvl="0">
              <a:defRPr sz="1800">
                <a:solidFill>
                  <a:srgbClr val="000000"/>
                </a:solidFill>
              </a:defRPr>
            </a:pPr>
            <a:r>
              <a:rPr sz="2200">
                <a:solidFill>
                  <a:srgbClr val="414141"/>
                </a:solidFill>
              </a:rPr>
              <a:t>Brødtekst, niveau et</a:t>
            </a:r>
          </a:p>
          <a:p>
            <a:pPr lvl="1">
              <a:defRPr sz="1800">
                <a:solidFill>
                  <a:srgbClr val="000000"/>
                </a:solidFill>
              </a:defRPr>
            </a:pPr>
            <a:r>
              <a:rPr sz="2200">
                <a:solidFill>
                  <a:srgbClr val="414141"/>
                </a:solidFill>
              </a:rPr>
              <a:t>Brødtekst, niveau to</a:t>
            </a:r>
          </a:p>
          <a:p>
            <a:pPr lvl="2">
              <a:defRPr sz="1800">
                <a:solidFill>
                  <a:srgbClr val="000000"/>
                </a:solidFill>
              </a:defRPr>
            </a:pPr>
            <a:r>
              <a:rPr sz="2200">
                <a:solidFill>
                  <a:srgbClr val="414141"/>
                </a:solidFill>
              </a:rPr>
              <a:t>Brødtekst, niveau tre</a:t>
            </a:r>
          </a:p>
          <a:p>
            <a:pPr lvl="3">
              <a:defRPr sz="1800">
                <a:solidFill>
                  <a:srgbClr val="000000"/>
                </a:solidFill>
              </a:defRPr>
            </a:pPr>
            <a:r>
              <a:rPr sz="2200">
                <a:solidFill>
                  <a:srgbClr val="414141"/>
                </a:solidFill>
              </a:rPr>
              <a:t>Brødtekst, niveau fire</a:t>
            </a:r>
          </a:p>
          <a:p>
            <a:pPr lvl="4">
              <a:defRPr sz="1800">
                <a:solidFill>
                  <a:srgbClr val="000000"/>
                </a:solidFill>
              </a:defRPr>
            </a:pPr>
            <a:r>
              <a:rPr sz="2200">
                <a:solidFill>
                  <a:srgbClr val="414141"/>
                </a:solidFill>
              </a:rPr>
              <a:t>Brødtekst, niveau fem</a:t>
            </a:r>
          </a:p>
        </p:txBody>
      </p:sp>
      <p:pic>
        <p:nvPicPr>
          <p:cNvPr id="7" name="ÆS_logo_POS_CMYK.pdf"/>
          <p:cNvPicPr/>
          <p:nvPr/>
        </p:nvPicPr>
        <p:blipFill>
          <a:blip r:embed="rId17"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6" name="Pladsholder til diasnummer 5"/>
          <p:cNvSpPr>
            <a:spLocks noGrp="1"/>
          </p:cNvSpPr>
          <p:nvPr>
            <p:ph type="sldNum" sz="quarter" idx="4"/>
          </p:nvPr>
        </p:nvSpPr>
        <p:spPr>
          <a:xfrm>
            <a:off x="402493" y="634599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638CB2-EA0C-44E4-A91A-4D7146E346C5}" type="slidenum">
              <a:rPr lang="da-DK" smtClean="0"/>
              <a:pPr/>
              <a:t>‹nr.›</a:t>
            </a:fld>
            <a:endParaRPr lang="da-DK"/>
          </a:p>
        </p:txBody>
      </p:sp>
    </p:spTree>
    <p:extLst>
      <p:ext uri="{BB962C8B-B14F-4D97-AF65-F5344CB8AC3E}">
        <p14:creationId xmlns:p14="http://schemas.microsoft.com/office/powerpoint/2010/main" val="20948626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A28031AD-EEFD-6FEA-4BEC-EBD7D9B6716F}"/>
              </a:ext>
            </a:extLst>
          </p:cNvPr>
          <p:cNvSpPr/>
          <p:nvPr userDrawn="1"/>
        </p:nvSpPr>
        <p:spPr>
          <a:xfrm>
            <a:off x="0" y="6576219"/>
            <a:ext cx="12192000" cy="2817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800"/>
          </a:p>
        </p:txBody>
      </p:sp>
      <p:sp>
        <p:nvSpPr>
          <p:cNvPr id="41" name="Rektangel 40">
            <a:extLst>
              <a:ext uri="{FF2B5EF4-FFF2-40B4-BE49-F238E27FC236}">
                <a16:creationId xmlns:a16="http://schemas.microsoft.com/office/drawing/2014/main" id="{7246CA8F-7E1F-FCBD-6F4E-A6278E462C59}"/>
              </a:ext>
            </a:extLst>
          </p:cNvPr>
          <p:cNvSpPr/>
          <p:nvPr/>
        </p:nvSpPr>
        <p:spPr>
          <a:xfrm>
            <a:off x="0" y="6576219"/>
            <a:ext cx="12192000" cy="2817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800"/>
          </a:p>
        </p:txBody>
      </p:sp>
      <p:sp>
        <p:nvSpPr>
          <p:cNvPr id="2" name="Title Placeholder 1">
            <a:extLst>
              <a:ext uri="{FF2B5EF4-FFF2-40B4-BE49-F238E27FC236}">
                <a16:creationId xmlns:a16="http://schemas.microsoft.com/office/drawing/2014/main" id="{CEA75624-6F22-75AD-7F9C-B5C12884A0BE}"/>
              </a:ext>
            </a:extLst>
          </p:cNvPr>
          <p:cNvSpPr>
            <a:spLocks noGrp="1"/>
          </p:cNvSpPr>
          <p:nvPr>
            <p:ph type="title"/>
          </p:nvPr>
        </p:nvSpPr>
        <p:spPr>
          <a:xfrm>
            <a:off x="414337" y="419100"/>
            <a:ext cx="11361737" cy="839788"/>
          </a:xfrm>
          <a:prstGeom prst="rect">
            <a:avLst/>
          </a:prstGeom>
        </p:spPr>
        <p:txBody>
          <a:bodyPr vert="horz" lIns="0" tIns="0" rIns="0" bIns="0" rtlCol="0" anchor="t">
            <a:noAutofit/>
          </a:bodyPr>
          <a:lstStyle/>
          <a:p>
            <a:r>
              <a:rPr lang="da-DK"/>
              <a:t>Klik for at redigere titeltypografien i masteren</a:t>
            </a:r>
          </a:p>
        </p:txBody>
      </p:sp>
      <p:sp>
        <p:nvSpPr>
          <p:cNvPr id="3" name="Text Placeholder 2">
            <a:extLst>
              <a:ext uri="{FF2B5EF4-FFF2-40B4-BE49-F238E27FC236}">
                <a16:creationId xmlns:a16="http://schemas.microsoft.com/office/drawing/2014/main" id="{1DF682E3-1200-6DFD-1151-577DC0B95422}"/>
              </a:ext>
            </a:extLst>
          </p:cNvPr>
          <p:cNvSpPr>
            <a:spLocks noGrp="1"/>
          </p:cNvSpPr>
          <p:nvPr>
            <p:ph type="body" idx="1"/>
          </p:nvPr>
        </p:nvSpPr>
        <p:spPr>
          <a:xfrm>
            <a:off x="414337" y="1677988"/>
            <a:ext cx="11361737" cy="4479925"/>
          </a:xfrm>
          <a:prstGeom prst="rect">
            <a:avLst/>
          </a:prstGeom>
        </p:spPr>
        <p:txBody>
          <a:bodyPr vert="horz" lIns="0" tIns="0" rIns="0" bIns="0" rtlCol="0">
            <a:noAutofit/>
          </a:bodyPr>
          <a:lstStyle/>
          <a:p>
            <a:pPr lvl="0"/>
            <a:r>
              <a:rPr lang="da-DK"/>
              <a:t>Normal tekst (bold for mellemrubrik, forøg </a:t>
            </a:r>
            <a:r>
              <a:rPr lang="da-DK" err="1"/>
              <a:t>nivau</a:t>
            </a:r>
            <a:r>
              <a:rPr lang="da-DK"/>
              <a:t> for bullet)</a:t>
            </a:r>
          </a:p>
          <a:p>
            <a:pPr lvl="1"/>
            <a:r>
              <a:rPr lang="da-DK"/>
              <a:t>Bullet 1</a:t>
            </a:r>
          </a:p>
          <a:p>
            <a:pPr lvl="2"/>
            <a:r>
              <a:rPr lang="da-DK"/>
              <a:t>Dash til “bullet1”</a:t>
            </a:r>
          </a:p>
          <a:p>
            <a:pPr lvl="3"/>
            <a:r>
              <a:rPr lang="da-DK"/>
              <a:t>Bullet 2</a:t>
            </a:r>
          </a:p>
          <a:p>
            <a:pPr lvl="4"/>
            <a:r>
              <a:rPr lang="da-DK"/>
              <a:t>Dash til “bullet2”</a:t>
            </a:r>
          </a:p>
        </p:txBody>
      </p:sp>
      <p:sp>
        <p:nvSpPr>
          <p:cNvPr id="4" name="Date Placeholder 3">
            <a:extLst>
              <a:ext uri="{FF2B5EF4-FFF2-40B4-BE49-F238E27FC236}">
                <a16:creationId xmlns:a16="http://schemas.microsoft.com/office/drawing/2014/main" id="{F332DC6F-A788-7B4D-06CB-E5D0B635EF72}"/>
              </a:ext>
            </a:extLst>
          </p:cNvPr>
          <p:cNvSpPr>
            <a:spLocks noGrp="1"/>
          </p:cNvSpPr>
          <p:nvPr>
            <p:ph type="dt" sz="half" idx="2"/>
          </p:nvPr>
        </p:nvSpPr>
        <p:spPr>
          <a:xfrm>
            <a:off x="8866188" y="6577013"/>
            <a:ext cx="1939925" cy="273050"/>
          </a:xfrm>
          <a:prstGeom prst="rect">
            <a:avLst/>
          </a:prstGeom>
        </p:spPr>
        <p:txBody>
          <a:bodyPr vert="horz" lIns="0" tIns="0" rIns="0" bIns="0" rtlCol="0" anchor="ctr"/>
          <a:lstStyle>
            <a:lvl1pPr algn="r">
              <a:defRPr sz="800">
                <a:solidFill>
                  <a:schemeClr val="bg1"/>
                </a:solidFill>
              </a:defRPr>
            </a:lvl1pPr>
          </a:lstStyle>
          <a:p>
            <a:fld id="{8CA5FC4F-F7E4-45B1-AE61-D3ADC3A19034}" type="datetime1">
              <a:rPr lang="da-DK" smtClean="0"/>
              <a:t>16-09-2025</a:t>
            </a:fld>
            <a:endParaRPr lang="da-DK"/>
          </a:p>
        </p:txBody>
      </p:sp>
      <p:sp>
        <p:nvSpPr>
          <p:cNvPr id="5" name="Footer Placeholder 4">
            <a:extLst>
              <a:ext uri="{FF2B5EF4-FFF2-40B4-BE49-F238E27FC236}">
                <a16:creationId xmlns:a16="http://schemas.microsoft.com/office/drawing/2014/main" id="{6F227101-A64C-B695-DC11-5349CB46A7A8}"/>
              </a:ext>
            </a:extLst>
          </p:cNvPr>
          <p:cNvSpPr>
            <a:spLocks noGrp="1"/>
          </p:cNvSpPr>
          <p:nvPr>
            <p:ph type="ftr" sz="quarter" idx="3"/>
          </p:nvPr>
        </p:nvSpPr>
        <p:spPr>
          <a:xfrm>
            <a:off x="2354262" y="6577013"/>
            <a:ext cx="6511926" cy="273050"/>
          </a:xfrm>
          <a:prstGeom prst="rect">
            <a:avLst/>
          </a:prstGeom>
        </p:spPr>
        <p:txBody>
          <a:bodyPr vert="horz" lIns="0" tIns="0" rIns="0" bIns="0" rtlCol="0" anchor="ctr"/>
          <a:lstStyle>
            <a:lvl1pPr algn="l">
              <a:defRPr sz="800">
                <a:solidFill>
                  <a:schemeClr val="bg1"/>
                </a:solidFill>
              </a:defRPr>
            </a:lvl1pPr>
          </a:lstStyle>
          <a:p>
            <a:endParaRPr lang="da-DK"/>
          </a:p>
        </p:txBody>
      </p:sp>
      <p:sp>
        <p:nvSpPr>
          <p:cNvPr id="6" name="Slide Number Placeholder 5">
            <a:extLst>
              <a:ext uri="{FF2B5EF4-FFF2-40B4-BE49-F238E27FC236}">
                <a16:creationId xmlns:a16="http://schemas.microsoft.com/office/drawing/2014/main" id="{78AA4518-9894-242B-21BB-F4A3B6876019}"/>
              </a:ext>
            </a:extLst>
          </p:cNvPr>
          <p:cNvSpPr>
            <a:spLocks noGrp="1"/>
          </p:cNvSpPr>
          <p:nvPr>
            <p:ph type="sldNum" sz="quarter" idx="4"/>
          </p:nvPr>
        </p:nvSpPr>
        <p:spPr>
          <a:xfrm>
            <a:off x="11082337" y="6577013"/>
            <a:ext cx="693737" cy="273050"/>
          </a:xfrm>
          <a:prstGeom prst="rect">
            <a:avLst/>
          </a:prstGeom>
        </p:spPr>
        <p:txBody>
          <a:bodyPr vert="horz" lIns="0" tIns="0" rIns="0" bIns="0" rtlCol="0" anchor="ctr"/>
          <a:lstStyle>
            <a:lvl1pPr algn="r">
              <a:defRPr sz="800">
                <a:solidFill>
                  <a:schemeClr val="bg1"/>
                </a:solidFill>
              </a:defRPr>
            </a:lvl1pPr>
          </a:lstStyle>
          <a:p>
            <a:fld id="{0E8862F4-759C-4937-98C7-CDEB1EE77131}" type="slidenum">
              <a:rPr lang="da-DK" smtClean="0"/>
              <a:pPr/>
              <a:t>‹nr.›</a:t>
            </a:fld>
            <a:endParaRPr lang="da-DK"/>
          </a:p>
        </p:txBody>
      </p:sp>
      <p:grpSp>
        <p:nvGrpSpPr>
          <p:cNvPr id="40" name="Gruppe 39">
            <a:extLst>
              <a:ext uri="{FF2B5EF4-FFF2-40B4-BE49-F238E27FC236}">
                <a16:creationId xmlns:a16="http://schemas.microsoft.com/office/drawing/2014/main" id="{2BC78506-0AA1-4479-72F8-ACEE3E335213}"/>
              </a:ext>
            </a:extLst>
          </p:cNvPr>
          <p:cNvGrpSpPr/>
          <p:nvPr/>
        </p:nvGrpSpPr>
        <p:grpSpPr>
          <a:xfrm>
            <a:off x="414338" y="6667500"/>
            <a:ext cx="627122" cy="108207"/>
            <a:chOff x="-3222625" y="8053388"/>
            <a:chExt cx="1665288" cy="287338"/>
          </a:xfrm>
        </p:grpSpPr>
        <p:sp>
          <p:nvSpPr>
            <p:cNvPr id="18" name="Freeform 5">
              <a:extLst>
                <a:ext uri="{FF2B5EF4-FFF2-40B4-BE49-F238E27FC236}">
                  <a16:creationId xmlns:a16="http://schemas.microsoft.com/office/drawing/2014/main" id="{B9A3E7CD-E2C2-DF6A-5910-7EBB2C471CEB}"/>
                </a:ext>
              </a:extLst>
            </p:cNvPr>
            <p:cNvSpPr>
              <a:spLocks/>
            </p:cNvSpPr>
            <p:nvPr/>
          </p:nvSpPr>
          <p:spPr bwMode="auto">
            <a:xfrm>
              <a:off x="-2232025" y="8085138"/>
              <a:ext cx="119063" cy="188913"/>
            </a:xfrm>
            <a:custGeom>
              <a:avLst/>
              <a:gdLst>
                <a:gd name="T0" fmla="*/ 195 w 724"/>
                <a:gd name="T1" fmla="*/ 316 h 1151"/>
                <a:gd name="T2" fmla="*/ 195 w 724"/>
                <a:gd name="T3" fmla="*/ 316 h 1151"/>
                <a:gd name="T4" fmla="*/ 420 w 724"/>
                <a:gd name="T5" fmla="*/ 149 h 1151"/>
                <a:gd name="T6" fmla="*/ 622 w 724"/>
                <a:gd name="T7" fmla="*/ 180 h 1151"/>
                <a:gd name="T8" fmla="*/ 632 w 724"/>
                <a:gd name="T9" fmla="*/ 20 h 1151"/>
                <a:gd name="T10" fmla="*/ 430 w 724"/>
                <a:gd name="T11" fmla="*/ 0 h 1151"/>
                <a:gd name="T12" fmla="*/ 9 w 724"/>
                <a:gd name="T13" fmla="*/ 332 h 1151"/>
                <a:gd name="T14" fmla="*/ 522 w 724"/>
                <a:gd name="T15" fmla="*/ 787 h 1151"/>
                <a:gd name="T16" fmla="*/ 286 w 724"/>
                <a:gd name="T17" fmla="*/ 995 h 1151"/>
                <a:gd name="T18" fmla="*/ 47 w 724"/>
                <a:gd name="T19" fmla="*/ 947 h 1151"/>
                <a:gd name="T20" fmla="*/ 44 w 724"/>
                <a:gd name="T21" fmla="*/ 1112 h 1151"/>
                <a:gd name="T22" fmla="*/ 269 w 724"/>
                <a:gd name="T23" fmla="*/ 1151 h 1151"/>
                <a:gd name="T24" fmla="*/ 715 w 724"/>
                <a:gd name="T25" fmla="*/ 767 h 1151"/>
                <a:gd name="T26" fmla="*/ 195 w 724"/>
                <a:gd name="T27" fmla="*/ 31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1151">
                  <a:moveTo>
                    <a:pt x="195" y="316"/>
                  </a:moveTo>
                  <a:lnTo>
                    <a:pt x="195" y="316"/>
                  </a:lnTo>
                  <a:cubicBezTo>
                    <a:pt x="195" y="212"/>
                    <a:pt x="281" y="149"/>
                    <a:pt x="420" y="149"/>
                  </a:cubicBezTo>
                  <a:cubicBezTo>
                    <a:pt x="486" y="149"/>
                    <a:pt x="557" y="160"/>
                    <a:pt x="622" y="180"/>
                  </a:cubicBezTo>
                  <a:lnTo>
                    <a:pt x="632" y="20"/>
                  </a:lnTo>
                  <a:cubicBezTo>
                    <a:pt x="564" y="8"/>
                    <a:pt x="496" y="0"/>
                    <a:pt x="430" y="0"/>
                  </a:cubicBezTo>
                  <a:cubicBezTo>
                    <a:pt x="170" y="0"/>
                    <a:pt x="0" y="140"/>
                    <a:pt x="9" y="332"/>
                  </a:cubicBezTo>
                  <a:cubicBezTo>
                    <a:pt x="25" y="692"/>
                    <a:pt x="494" y="537"/>
                    <a:pt x="522" y="787"/>
                  </a:cubicBezTo>
                  <a:cubicBezTo>
                    <a:pt x="536" y="917"/>
                    <a:pt x="408" y="995"/>
                    <a:pt x="286" y="995"/>
                  </a:cubicBezTo>
                  <a:cubicBezTo>
                    <a:pt x="205" y="995"/>
                    <a:pt x="110" y="970"/>
                    <a:pt x="47" y="947"/>
                  </a:cubicBezTo>
                  <a:lnTo>
                    <a:pt x="44" y="1112"/>
                  </a:lnTo>
                  <a:cubicBezTo>
                    <a:pt x="109" y="1129"/>
                    <a:pt x="188" y="1151"/>
                    <a:pt x="269" y="1151"/>
                  </a:cubicBezTo>
                  <a:cubicBezTo>
                    <a:pt x="536" y="1151"/>
                    <a:pt x="724" y="972"/>
                    <a:pt x="715" y="767"/>
                  </a:cubicBezTo>
                  <a:cubicBezTo>
                    <a:pt x="699" y="418"/>
                    <a:pt x="195" y="539"/>
                    <a:pt x="195" y="3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24" name="Freeform 6">
              <a:extLst>
                <a:ext uri="{FF2B5EF4-FFF2-40B4-BE49-F238E27FC236}">
                  <a16:creationId xmlns:a16="http://schemas.microsoft.com/office/drawing/2014/main" id="{3F96DF0B-F14F-DF4D-007B-43E022DCAEB1}"/>
                </a:ext>
              </a:extLst>
            </p:cNvPr>
            <p:cNvSpPr>
              <a:spLocks noEditPoints="1"/>
            </p:cNvSpPr>
            <p:nvPr/>
          </p:nvSpPr>
          <p:spPr bwMode="auto">
            <a:xfrm>
              <a:off x="-1806575" y="8128001"/>
              <a:ext cx="112713"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2"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26" name="Freeform 7">
              <a:extLst>
                <a:ext uri="{FF2B5EF4-FFF2-40B4-BE49-F238E27FC236}">
                  <a16:creationId xmlns:a16="http://schemas.microsoft.com/office/drawing/2014/main" id="{A458A159-6BEC-08A3-6E61-A61A52B4F8EE}"/>
                </a:ext>
              </a:extLst>
            </p:cNvPr>
            <p:cNvSpPr>
              <a:spLocks noEditPoints="1"/>
            </p:cNvSpPr>
            <p:nvPr/>
          </p:nvSpPr>
          <p:spPr bwMode="auto">
            <a:xfrm>
              <a:off x="-2665413" y="8128001"/>
              <a:ext cx="111125"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1"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28" name="Freeform 8">
              <a:extLst>
                <a:ext uri="{FF2B5EF4-FFF2-40B4-BE49-F238E27FC236}">
                  <a16:creationId xmlns:a16="http://schemas.microsoft.com/office/drawing/2014/main" id="{CA0E538F-7715-9CB7-6DEA-0A6144353091}"/>
                </a:ext>
              </a:extLst>
            </p:cNvPr>
            <p:cNvSpPr>
              <a:spLocks noEditPoints="1"/>
            </p:cNvSpPr>
            <p:nvPr/>
          </p:nvSpPr>
          <p:spPr bwMode="auto">
            <a:xfrm>
              <a:off x="-2097088" y="8128001"/>
              <a:ext cx="112713" cy="144463"/>
            </a:xfrm>
            <a:custGeom>
              <a:avLst/>
              <a:gdLst>
                <a:gd name="T0" fmla="*/ 532 w 687"/>
                <a:gd name="T1" fmla="*/ 494 h 881"/>
                <a:gd name="T2" fmla="*/ 532 w 687"/>
                <a:gd name="T3" fmla="*/ 494 h 881"/>
                <a:gd name="T4" fmla="*/ 532 w 687"/>
                <a:gd name="T5" fmla="*/ 578 h 881"/>
                <a:gd name="T6" fmla="*/ 332 w 687"/>
                <a:gd name="T7" fmla="*/ 737 h 881"/>
                <a:gd name="T8" fmla="*/ 161 w 687"/>
                <a:gd name="T9" fmla="*/ 663 h 881"/>
                <a:gd name="T10" fmla="*/ 155 w 687"/>
                <a:gd name="T11" fmla="*/ 618 h 881"/>
                <a:gd name="T12" fmla="*/ 321 w 687"/>
                <a:gd name="T13" fmla="*/ 494 h 881"/>
                <a:gd name="T14" fmla="*/ 532 w 687"/>
                <a:gd name="T15" fmla="*/ 494 h 881"/>
                <a:gd name="T16" fmla="*/ 532 w 687"/>
                <a:gd name="T17" fmla="*/ 494 h 881"/>
                <a:gd name="T18" fmla="*/ 140 w 687"/>
                <a:gd name="T19" fmla="*/ 218 h 881"/>
                <a:gd name="T20" fmla="*/ 140 w 687"/>
                <a:gd name="T21" fmla="*/ 218 h 881"/>
                <a:gd name="T22" fmla="*/ 344 w 687"/>
                <a:gd name="T23" fmla="*/ 145 h 881"/>
                <a:gd name="T24" fmla="*/ 532 w 687"/>
                <a:gd name="T25" fmla="*/ 303 h 881"/>
                <a:gd name="T26" fmla="*/ 532 w 687"/>
                <a:gd name="T27" fmla="*/ 356 h 881"/>
                <a:gd name="T28" fmla="*/ 312 w 687"/>
                <a:gd name="T29" fmla="*/ 356 h 881"/>
                <a:gd name="T30" fmla="*/ 0 w 687"/>
                <a:gd name="T31" fmla="*/ 620 h 881"/>
                <a:gd name="T32" fmla="*/ 68 w 687"/>
                <a:gd name="T33" fmla="*/ 798 h 881"/>
                <a:gd name="T34" fmla="*/ 336 w 687"/>
                <a:gd name="T35" fmla="*/ 881 h 881"/>
                <a:gd name="T36" fmla="*/ 433 w 687"/>
                <a:gd name="T37" fmla="*/ 875 h 881"/>
                <a:gd name="T38" fmla="*/ 566 w 687"/>
                <a:gd name="T39" fmla="*/ 829 h 881"/>
                <a:gd name="T40" fmla="*/ 667 w 687"/>
                <a:gd name="T41" fmla="*/ 706 h 881"/>
                <a:gd name="T42" fmla="*/ 687 w 687"/>
                <a:gd name="T43" fmla="*/ 587 h 881"/>
                <a:gd name="T44" fmla="*/ 687 w 687"/>
                <a:gd name="T45" fmla="*/ 295 h 881"/>
                <a:gd name="T46" fmla="*/ 344 w 687"/>
                <a:gd name="T47" fmla="*/ 0 h 881"/>
                <a:gd name="T48" fmla="*/ 31 w 687"/>
                <a:gd name="T49" fmla="*/ 129 h 881"/>
                <a:gd name="T50" fmla="*/ 140 w 687"/>
                <a:gd name="T51" fmla="*/ 218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7" h="881">
                  <a:moveTo>
                    <a:pt x="532" y="494"/>
                  </a:moveTo>
                  <a:lnTo>
                    <a:pt x="532" y="494"/>
                  </a:lnTo>
                  <a:lnTo>
                    <a:pt x="532" y="578"/>
                  </a:lnTo>
                  <a:cubicBezTo>
                    <a:pt x="532" y="692"/>
                    <a:pt x="484" y="737"/>
                    <a:pt x="332" y="737"/>
                  </a:cubicBezTo>
                  <a:cubicBezTo>
                    <a:pt x="181" y="737"/>
                    <a:pt x="167" y="683"/>
                    <a:pt x="161" y="663"/>
                  </a:cubicBezTo>
                  <a:cubicBezTo>
                    <a:pt x="157" y="650"/>
                    <a:pt x="155" y="635"/>
                    <a:pt x="155" y="618"/>
                  </a:cubicBezTo>
                  <a:cubicBezTo>
                    <a:pt x="155" y="509"/>
                    <a:pt x="239" y="494"/>
                    <a:pt x="321" y="494"/>
                  </a:cubicBezTo>
                  <a:lnTo>
                    <a:pt x="532" y="494"/>
                  </a:lnTo>
                  <a:lnTo>
                    <a:pt x="532" y="494"/>
                  </a:lnTo>
                  <a:close/>
                  <a:moveTo>
                    <a:pt x="140" y="218"/>
                  </a:moveTo>
                  <a:lnTo>
                    <a:pt x="140" y="218"/>
                  </a:lnTo>
                  <a:cubicBezTo>
                    <a:pt x="193" y="161"/>
                    <a:pt x="247" y="145"/>
                    <a:pt x="344" y="145"/>
                  </a:cubicBezTo>
                  <a:cubicBezTo>
                    <a:pt x="479" y="145"/>
                    <a:pt x="532" y="189"/>
                    <a:pt x="532" y="303"/>
                  </a:cubicBezTo>
                  <a:lnTo>
                    <a:pt x="532" y="356"/>
                  </a:lnTo>
                  <a:lnTo>
                    <a:pt x="312" y="356"/>
                  </a:lnTo>
                  <a:cubicBezTo>
                    <a:pt x="117" y="356"/>
                    <a:pt x="0" y="454"/>
                    <a:pt x="0" y="620"/>
                  </a:cubicBezTo>
                  <a:cubicBezTo>
                    <a:pt x="0" y="690"/>
                    <a:pt x="25" y="756"/>
                    <a:pt x="68" y="798"/>
                  </a:cubicBezTo>
                  <a:cubicBezTo>
                    <a:pt x="126" y="858"/>
                    <a:pt x="193" y="881"/>
                    <a:pt x="336" y="881"/>
                  </a:cubicBezTo>
                  <a:cubicBezTo>
                    <a:pt x="378" y="881"/>
                    <a:pt x="404" y="879"/>
                    <a:pt x="433" y="875"/>
                  </a:cubicBezTo>
                  <a:cubicBezTo>
                    <a:pt x="491" y="867"/>
                    <a:pt x="535" y="852"/>
                    <a:pt x="566" y="829"/>
                  </a:cubicBezTo>
                  <a:cubicBezTo>
                    <a:pt x="614" y="800"/>
                    <a:pt x="648" y="758"/>
                    <a:pt x="667" y="706"/>
                  </a:cubicBezTo>
                  <a:cubicBezTo>
                    <a:pt x="680" y="671"/>
                    <a:pt x="687" y="631"/>
                    <a:pt x="687" y="587"/>
                  </a:cubicBezTo>
                  <a:lnTo>
                    <a:pt x="687" y="295"/>
                  </a:lnTo>
                  <a:cubicBezTo>
                    <a:pt x="687" y="38"/>
                    <a:pt x="472" y="0"/>
                    <a:pt x="344" y="0"/>
                  </a:cubicBezTo>
                  <a:cubicBezTo>
                    <a:pt x="219" y="0"/>
                    <a:pt x="129" y="17"/>
                    <a:pt x="31" y="129"/>
                  </a:cubicBezTo>
                  <a:lnTo>
                    <a:pt x="140" y="2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0" name="Freeform 9">
              <a:extLst>
                <a:ext uri="{FF2B5EF4-FFF2-40B4-BE49-F238E27FC236}">
                  <a16:creationId xmlns:a16="http://schemas.microsoft.com/office/drawing/2014/main" id="{B2A6D11B-4C36-DEAA-F006-95C973F655F8}"/>
                </a:ext>
              </a:extLst>
            </p:cNvPr>
            <p:cNvSpPr>
              <a:spLocks/>
            </p:cNvSpPr>
            <p:nvPr/>
          </p:nvSpPr>
          <p:spPr bwMode="auto">
            <a:xfrm>
              <a:off x="-2954338" y="8086726"/>
              <a:ext cx="28575" cy="184150"/>
            </a:xfrm>
            <a:custGeom>
              <a:avLst/>
              <a:gdLst>
                <a:gd name="T0" fmla="*/ 0 w 177"/>
                <a:gd name="T1" fmla="*/ 0 h 1118"/>
                <a:gd name="T2" fmla="*/ 0 w 177"/>
                <a:gd name="T3" fmla="*/ 0 h 1118"/>
                <a:gd name="T4" fmla="*/ 177 w 177"/>
                <a:gd name="T5" fmla="*/ 0 h 1118"/>
                <a:gd name="T6" fmla="*/ 177 w 177"/>
                <a:gd name="T7" fmla="*/ 1118 h 1118"/>
                <a:gd name="T8" fmla="*/ 0 w 177"/>
                <a:gd name="T9" fmla="*/ 1118 h 1118"/>
                <a:gd name="T10" fmla="*/ 0 w 177"/>
                <a:gd name="T11" fmla="*/ 0 h 1118"/>
              </a:gdLst>
              <a:ahLst/>
              <a:cxnLst>
                <a:cxn ang="0">
                  <a:pos x="T0" y="T1"/>
                </a:cxn>
                <a:cxn ang="0">
                  <a:pos x="T2" y="T3"/>
                </a:cxn>
                <a:cxn ang="0">
                  <a:pos x="T4" y="T5"/>
                </a:cxn>
                <a:cxn ang="0">
                  <a:pos x="T6" y="T7"/>
                </a:cxn>
                <a:cxn ang="0">
                  <a:pos x="T8" y="T9"/>
                </a:cxn>
                <a:cxn ang="0">
                  <a:pos x="T10" y="T11"/>
                </a:cxn>
              </a:cxnLst>
              <a:rect l="0" t="0" r="r" b="b"/>
              <a:pathLst>
                <a:path w="177" h="1118">
                  <a:moveTo>
                    <a:pt x="0" y="0"/>
                  </a:moveTo>
                  <a:lnTo>
                    <a:pt x="0" y="0"/>
                  </a:lnTo>
                  <a:lnTo>
                    <a:pt x="177" y="0"/>
                  </a:lnTo>
                  <a:lnTo>
                    <a:pt x="177" y="1118"/>
                  </a:lnTo>
                  <a:lnTo>
                    <a:pt x="0" y="111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2" name="Freeform 10">
              <a:extLst>
                <a:ext uri="{FF2B5EF4-FFF2-40B4-BE49-F238E27FC236}">
                  <a16:creationId xmlns:a16="http://schemas.microsoft.com/office/drawing/2014/main" id="{5B2BECF9-08D5-DB58-18B1-8922BB0C9E64}"/>
                </a:ext>
              </a:extLst>
            </p:cNvPr>
            <p:cNvSpPr>
              <a:spLocks noEditPoints="1"/>
            </p:cNvSpPr>
            <p:nvPr/>
          </p:nvSpPr>
          <p:spPr bwMode="auto">
            <a:xfrm>
              <a:off x="-1958975" y="8128001"/>
              <a:ext cx="133350" cy="212725"/>
            </a:xfrm>
            <a:custGeom>
              <a:avLst/>
              <a:gdLst>
                <a:gd name="T0" fmla="*/ 367 w 816"/>
                <a:gd name="T1" fmla="*/ 133 h 1290"/>
                <a:gd name="T2" fmla="*/ 367 w 816"/>
                <a:gd name="T3" fmla="*/ 133 h 1290"/>
                <a:gd name="T4" fmla="*/ 552 w 816"/>
                <a:gd name="T5" fmla="*/ 310 h 1290"/>
                <a:gd name="T6" fmla="*/ 365 w 816"/>
                <a:gd name="T7" fmla="*/ 483 h 1290"/>
                <a:gd name="T8" fmla="*/ 176 w 816"/>
                <a:gd name="T9" fmla="*/ 309 h 1290"/>
                <a:gd name="T10" fmla="*/ 367 w 816"/>
                <a:gd name="T11" fmla="*/ 133 h 1290"/>
                <a:gd name="T12" fmla="*/ 367 w 816"/>
                <a:gd name="T13" fmla="*/ 133 h 1290"/>
                <a:gd name="T14" fmla="*/ 501 w 816"/>
                <a:gd name="T15" fmla="*/ 714 h 1290"/>
                <a:gd name="T16" fmla="*/ 501 w 816"/>
                <a:gd name="T17" fmla="*/ 714 h 1290"/>
                <a:gd name="T18" fmla="*/ 358 w 816"/>
                <a:gd name="T19" fmla="*/ 725 h 1290"/>
                <a:gd name="T20" fmla="*/ 218 w 816"/>
                <a:gd name="T21" fmla="*/ 663 h 1290"/>
                <a:gd name="T22" fmla="*/ 267 w 816"/>
                <a:gd name="T23" fmla="*/ 601 h 1290"/>
                <a:gd name="T24" fmla="*/ 363 w 816"/>
                <a:gd name="T25" fmla="*/ 609 h 1290"/>
                <a:gd name="T26" fmla="*/ 726 w 816"/>
                <a:gd name="T27" fmla="*/ 299 h 1290"/>
                <a:gd name="T28" fmla="*/ 683 w 816"/>
                <a:gd name="T29" fmla="*/ 148 h 1290"/>
                <a:gd name="T30" fmla="*/ 805 w 816"/>
                <a:gd name="T31" fmla="*/ 147 h 1290"/>
                <a:gd name="T32" fmla="*/ 805 w 816"/>
                <a:gd name="T33" fmla="*/ 1 h 1290"/>
                <a:gd name="T34" fmla="*/ 754 w 816"/>
                <a:gd name="T35" fmla="*/ 0 h 1290"/>
                <a:gd name="T36" fmla="*/ 748 w 816"/>
                <a:gd name="T37" fmla="*/ 0 h 1290"/>
                <a:gd name="T38" fmla="*/ 736 w 816"/>
                <a:gd name="T39" fmla="*/ 0 h 1290"/>
                <a:gd name="T40" fmla="*/ 648 w 816"/>
                <a:gd name="T41" fmla="*/ 6 h 1290"/>
                <a:gd name="T42" fmla="*/ 568 w 816"/>
                <a:gd name="T43" fmla="*/ 39 h 1290"/>
                <a:gd name="T44" fmla="*/ 519 w 816"/>
                <a:gd name="T45" fmla="*/ 20 h 1290"/>
                <a:gd name="T46" fmla="*/ 375 w 816"/>
                <a:gd name="T47" fmla="*/ 0 h 1290"/>
                <a:gd name="T48" fmla="*/ 0 w 816"/>
                <a:gd name="T49" fmla="*/ 326 h 1290"/>
                <a:gd name="T50" fmla="*/ 125 w 816"/>
                <a:gd name="T51" fmla="*/ 562 h 1290"/>
                <a:gd name="T52" fmla="*/ 24 w 816"/>
                <a:gd name="T53" fmla="*/ 707 h 1290"/>
                <a:gd name="T54" fmla="*/ 115 w 816"/>
                <a:gd name="T55" fmla="*/ 860 h 1290"/>
                <a:gd name="T56" fmla="*/ 315 w 816"/>
                <a:gd name="T57" fmla="*/ 874 h 1290"/>
                <a:gd name="T58" fmla="*/ 459 w 816"/>
                <a:gd name="T59" fmla="*/ 856 h 1290"/>
                <a:gd name="T60" fmla="*/ 633 w 816"/>
                <a:gd name="T61" fmla="*/ 976 h 1290"/>
                <a:gd name="T62" fmla="*/ 381 w 816"/>
                <a:gd name="T63" fmla="*/ 1152 h 1290"/>
                <a:gd name="T64" fmla="*/ 150 w 816"/>
                <a:gd name="T65" fmla="*/ 1021 h 1290"/>
                <a:gd name="T66" fmla="*/ 149 w 816"/>
                <a:gd name="T67" fmla="*/ 999 h 1290"/>
                <a:gd name="T68" fmla="*/ 13 w 816"/>
                <a:gd name="T69" fmla="*/ 999 h 1290"/>
                <a:gd name="T70" fmla="*/ 15 w 816"/>
                <a:gd name="T71" fmla="*/ 1048 h 1290"/>
                <a:gd name="T72" fmla="*/ 369 w 816"/>
                <a:gd name="T73" fmla="*/ 1283 h 1290"/>
                <a:gd name="T74" fmla="*/ 811 w 816"/>
                <a:gd name="T75" fmla="*/ 947 h 1290"/>
                <a:gd name="T76" fmla="*/ 501 w 816"/>
                <a:gd name="T77" fmla="*/ 714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6" h="1290">
                  <a:moveTo>
                    <a:pt x="367" y="133"/>
                  </a:moveTo>
                  <a:lnTo>
                    <a:pt x="367" y="133"/>
                  </a:lnTo>
                  <a:cubicBezTo>
                    <a:pt x="483" y="133"/>
                    <a:pt x="552" y="175"/>
                    <a:pt x="552" y="310"/>
                  </a:cubicBezTo>
                  <a:cubicBezTo>
                    <a:pt x="552" y="437"/>
                    <a:pt x="478" y="483"/>
                    <a:pt x="365" y="483"/>
                  </a:cubicBezTo>
                  <a:cubicBezTo>
                    <a:pt x="227" y="483"/>
                    <a:pt x="176" y="437"/>
                    <a:pt x="176" y="309"/>
                  </a:cubicBezTo>
                  <a:cubicBezTo>
                    <a:pt x="176" y="193"/>
                    <a:pt x="231" y="133"/>
                    <a:pt x="367" y="133"/>
                  </a:cubicBezTo>
                  <a:lnTo>
                    <a:pt x="367" y="133"/>
                  </a:lnTo>
                  <a:close/>
                  <a:moveTo>
                    <a:pt x="501" y="714"/>
                  </a:moveTo>
                  <a:lnTo>
                    <a:pt x="501" y="714"/>
                  </a:lnTo>
                  <a:lnTo>
                    <a:pt x="358" y="725"/>
                  </a:lnTo>
                  <a:cubicBezTo>
                    <a:pt x="252" y="741"/>
                    <a:pt x="216" y="730"/>
                    <a:pt x="218" y="663"/>
                  </a:cubicBezTo>
                  <a:cubicBezTo>
                    <a:pt x="219" y="639"/>
                    <a:pt x="233" y="614"/>
                    <a:pt x="267" y="601"/>
                  </a:cubicBezTo>
                  <a:cubicBezTo>
                    <a:pt x="292" y="606"/>
                    <a:pt x="331" y="609"/>
                    <a:pt x="363" y="609"/>
                  </a:cubicBezTo>
                  <a:cubicBezTo>
                    <a:pt x="599" y="609"/>
                    <a:pt x="726" y="481"/>
                    <a:pt x="726" y="299"/>
                  </a:cubicBezTo>
                  <a:cubicBezTo>
                    <a:pt x="726" y="250"/>
                    <a:pt x="711" y="196"/>
                    <a:pt x="683" y="148"/>
                  </a:cubicBezTo>
                  <a:cubicBezTo>
                    <a:pt x="712" y="143"/>
                    <a:pt x="755" y="141"/>
                    <a:pt x="805" y="147"/>
                  </a:cubicBezTo>
                  <a:lnTo>
                    <a:pt x="805" y="1"/>
                  </a:lnTo>
                  <a:cubicBezTo>
                    <a:pt x="789" y="0"/>
                    <a:pt x="772" y="0"/>
                    <a:pt x="754" y="0"/>
                  </a:cubicBezTo>
                  <a:lnTo>
                    <a:pt x="748" y="0"/>
                  </a:lnTo>
                  <a:lnTo>
                    <a:pt x="736" y="0"/>
                  </a:lnTo>
                  <a:cubicBezTo>
                    <a:pt x="706" y="0"/>
                    <a:pt x="677" y="2"/>
                    <a:pt x="648" y="6"/>
                  </a:cubicBezTo>
                  <a:cubicBezTo>
                    <a:pt x="610" y="11"/>
                    <a:pt x="588" y="21"/>
                    <a:pt x="568" y="39"/>
                  </a:cubicBezTo>
                  <a:cubicBezTo>
                    <a:pt x="557" y="33"/>
                    <a:pt x="531" y="23"/>
                    <a:pt x="519" y="20"/>
                  </a:cubicBezTo>
                  <a:cubicBezTo>
                    <a:pt x="491" y="15"/>
                    <a:pt x="426" y="0"/>
                    <a:pt x="375" y="0"/>
                  </a:cubicBezTo>
                  <a:cubicBezTo>
                    <a:pt x="135" y="0"/>
                    <a:pt x="0" y="148"/>
                    <a:pt x="0" y="326"/>
                  </a:cubicBezTo>
                  <a:cubicBezTo>
                    <a:pt x="0" y="430"/>
                    <a:pt x="43" y="516"/>
                    <a:pt x="125" y="562"/>
                  </a:cubicBezTo>
                  <a:cubicBezTo>
                    <a:pt x="66" y="587"/>
                    <a:pt x="24" y="646"/>
                    <a:pt x="24" y="707"/>
                  </a:cubicBezTo>
                  <a:cubicBezTo>
                    <a:pt x="24" y="778"/>
                    <a:pt x="63" y="836"/>
                    <a:pt x="115" y="860"/>
                  </a:cubicBezTo>
                  <a:cubicBezTo>
                    <a:pt x="192" y="895"/>
                    <a:pt x="315" y="874"/>
                    <a:pt x="315" y="874"/>
                  </a:cubicBezTo>
                  <a:lnTo>
                    <a:pt x="459" y="856"/>
                  </a:lnTo>
                  <a:cubicBezTo>
                    <a:pt x="554" y="844"/>
                    <a:pt x="631" y="904"/>
                    <a:pt x="633" y="976"/>
                  </a:cubicBezTo>
                  <a:cubicBezTo>
                    <a:pt x="636" y="1067"/>
                    <a:pt x="538" y="1152"/>
                    <a:pt x="381" y="1152"/>
                  </a:cubicBezTo>
                  <a:cubicBezTo>
                    <a:pt x="176" y="1152"/>
                    <a:pt x="152" y="1110"/>
                    <a:pt x="150" y="1021"/>
                  </a:cubicBezTo>
                  <a:cubicBezTo>
                    <a:pt x="149" y="1016"/>
                    <a:pt x="149" y="1004"/>
                    <a:pt x="149" y="999"/>
                  </a:cubicBezTo>
                  <a:lnTo>
                    <a:pt x="13" y="999"/>
                  </a:lnTo>
                  <a:cubicBezTo>
                    <a:pt x="13" y="999"/>
                    <a:pt x="14" y="1031"/>
                    <a:pt x="15" y="1048"/>
                  </a:cubicBezTo>
                  <a:cubicBezTo>
                    <a:pt x="20" y="1210"/>
                    <a:pt x="149" y="1290"/>
                    <a:pt x="369" y="1283"/>
                  </a:cubicBezTo>
                  <a:cubicBezTo>
                    <a:pt x="638" y="1275"/>
                    <a:pt x="816" y="1126"/>
                    <a:pt x="811" y="947"/>
                  </a:cubicBezTo>
                  <a:cubicBezTo>
                    <a:pt x="806" y="790"/>
                    <a:pt x="684" y="708"/>
                    <a:pt x="501" y="71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3" name="Freeform 11">
              <a:extLst>
                <a:ext uri="{FF2B5EF4-FFF2-40B4-BE49-F238E27FC236}">
                  <a16:creationId xmlns:a16="http://schemas.microsoft.com/office/drawing/2014/main" id="{12E8FBC7-DBC9-9177-A00D-7C20C2109E05}"/>
                </a:ext>
              </a:extLst>
            </p:cNvPr>
            <p:cNvSpPr>
              <a:spLocks/>
            </p:cNvSpPr>
            <p:nvPr/>
          </p:nvSpPr>
          <p:spPr bwMode="auto">
            <a:xfrm>
              <a:off x="-2754313" y="8128001"/>
              <a:ext cx="69850" cy="142875"/>
            </a:xfrm>
            <a:custGeom>
              <a:avLst/>
              <a:gdLst>
                <a:gd name="T0" fmla="*/ 355 w 426"/>
                <a:gd name="T1" fmla="*/ 1 h 870"/>
                <a:gd name="T2" fmla="*/ 355 w 426"/>
                <a:gd name="T3" fmla="*/ 1 h 870"/>
                <a:gd name="T4" fmla="*/ 263 w 426"/>
                <a:gd name="T5" fmla="*/ 7 h 870"/>
                <a:gd name="T6" fmla="*/ 125 w 426"/>
                <a:gd name="T7" fmla="*/ 54 h 870"/>
                <a:gd name="T8" fmla="*/ 21 w 426"/>
                <a:gd name="T9" fmla="*/ 182 h 870"/>
                <a:gd name="T10" fmla="*/ 0 w 426"/>
                <a:gd name="T11" fmla="*/ 306 h 870"/>
                <a:gd name="T12" fmla="*/ 0 w 426"/>
                <a:gd name="T13" fmla="*/ 870 h 870"/>
                <a:gd name="T14" fmla="*/ 160 w 426"/>
                <a:gd name="T15" fmla="*/ 870 h 870"/>
                <a:gd name="T16" fmla="*/ 160 w 426"/>
                <a:gd name="T17" fmla="*/ 314 h 870"/>
                <a:gd name="T18" fmla="*/ 354 w 426"/>
                <a:gd name="T19" fmla="*/ 151 h 870"/>
                <a:gd name="T20" fmla="*/ 426 w 426"/>
                <a:gd name="T21" fmla="*/ 153 h 870"/>
                <a:gd name="T22" fmla="*/ 426 w 426"/>
                <a:gd name="T23" fmla="*/ 2 h 870"/>
                <a:gd name="T24" fmla="*/ 355 w 426"/>
                <a:gd name="T25" fmla="*/ 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870">
                  <a:moveTo>
                    <a:pt x="355" y="1"/>
                  </a:moveTo>
                  <a:lnTo>
                    <a:pt x="355" y="1"/>
                  </a:lnTo>
                  <a:cubicBezTo>
                    <a:pt x="323" y="1"/>
                    <a:pt x="293" y="3"/>
                    <a:pt x="263" y="7"/>
                  </a:cubicBezTo>
                  <a:cubicBezTo>
                    <a:pt x="203" y="15"/>
                    <a:pt x="158" y="31"/>
                    <a:pt x="125" y="54"/>
                  </a:cubicBezTo>
                  <a:cubicBezTo>
                    <a:pt x="76" y="85"/>
                    <a:pt x="40" y="128"/>
                    <a:pt x="21" y="182"/>
                  </a:cubicBezTo>
                  <a:cubicBezTo>
                    <a:pt x="7" y="218"/>
                    <a:pt x="0" y="260"/>
                    <a:pt x="0" y="306"/>
                  </a:cubicBezTo>
                  <a:lnTo>
                    <a:pt x="0" y="870"/>
                  </a:lnTo>
                  <a:lnTo>
                    <a:pt x="160" y="870"/>
                  </a:lnTo>
                  <a:lnTo>
                    <a:pt x="160" y="314"/>
                  </a:lnTo>
                  <a:cubicBezTo>
                    <a:pt x="160" y="196"/>
                    <a:pt x="215" y="151"/>
                    <a:pt x="354" y="151"/>
                  </a:cubicBezTo>
                  <a:cubicBezTo>
                    <a:pt x="354" y="151"/>
                    <a:pt x="393" y="149"/>
                    <a:pt x="426" y="153"/>
                  </a:cubicBezTo>
                  <a:lnTo>
                    <a:pt x="426" y="2"/>
                  </a:lnTo>
                  <a:cubicBezTo>
                    <a:pt x="401" y="0"/>
                    <a:pt x="355" y="1"/>
                    <a:pt x="355" y="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4" name="Freeform 12">
              <a:extLst>
                <a:ext uri="{FF2B5EF4-FFF2-40B4-BE49-F238E27FC236}">
                  <a16:creationId xmlns:a16="http://schemas.microsoft.com/office/drawing/2014/main" id="{5F175DEA-C979-C10D-9739-1A7C1AC38996}"/>
                </a:ext>
              </a:extLst>
            </p:cNvPr>
            <p:cNvSpPr>
              <a:spLocks noEditPoints="1"/>
            </p:cNvSpPr>
            <p:nvPr/>
          </p:nvSpPr>
          <p:spPr bwMode="auto">
            <a:xfrm>
              <a:off x="-2895600" y="8086726"/>
              <a:ext cx="112713" cy="185738"/>
            </a:xfrm>
            <a:custGeom>
              <a:avLst/>
              <a:gdLst>
                <a:gd name="T0" fmla="*/ 499 w 686"/>
                <a:gd name="T1" fmla="*/ 440 h 1129"/>
                <a:gd name="T2" fmla="*/ 499 w 686"/>
                <a:gd name="T3" fmla="*/ 440 h 1129"/>
                <a:gd name="T4" fmla="*/ 514 w 686"/>
                <a:gd name="T5" fmla="*/ 462 h 1129"/>
                <a:gd name="T6" fmla="*/ 532 w 686"/>
                <a:gd name="T7" fmla="*/ 551 h 1129"/>
                <a:gd name="T8" fmla="*/ 532 w 686"/>
                <a:gd name="T9" fmla="*/ 826 h 1129"/>
                <a:gd name="T10" fmla="*/ 343 w 686"/>
                <a:gd name="T11" fmla="*/ 984 h 1129"/>
                <a:gd name="T12" fmla="*/ 155 w 686"/>
                <a:gd name="T13" fmla="*/ 826 h 1129"/>
                <a:gd name="T14" fmla="*/ 155 w 686"/>
                <a:gd name="T15" fmla="*/ 551 h 1129"/>
                <a:gd name="T16" fmla="*/ 186 w 686"/>
                <a:gd name="T17" fmla="*/ 440 h 1129"/>
                <a:gd name="T18" fmla="*/ 499 w 686"/>
                <a:gd name="T19" fmla="*/ 440 h 1129"/>
                <a:gd name="T20" fmla="*/ 499 w 686"/>
                <a:gd name="T21" fmla="*/ 440 h 1129"/>
                <a:gd name="T22" fmla="*/ 514 w 686"/>
                <a:gd name="T23" fmla="*/ 0 h 1129"/>
                <a:gd name="T24" fmla="*/ 514 w 686"/>
                <a:gd name="T25" fmla="*/ 0 h 1129"/>
                <a:gd name="T26" fmla="*/ 514 w 686"/>
                <a:gd name="T27" fmla="*/ 274 h 1129"/>
                <a:gd name="T28" fmla="*/ 342 w 686"/>
                <a:gd name="T29" fmla="*/ 248 h 1129"/>
                <a:gd name="T30" fmla="*/ 0 w 686"/>
                <a:gd name="T31" fmla="*/ 543 h 1129"/>
                <a:gd name="T32" fmla="*/ 0 w 686"/>
                <a:gd name="T33" fmla="*/ 855 h 1129"/>
                <a:gd name="T34" fmla="*/ 74 w 686"/>
                <a:gd name="T35" fmla="*/ 1040 h 1129"/>
                <a:gd name="T36" fmla="*/ 353 w 686"/>
                <a:gd name="T37" fmla="*/ 1129 h 1129"/>
                <a:gd name="T38" fmla="*/ 686 w 686"/>
                <a:gd name="T39" fmla="*/ 835 h 1129"/>
                <a:gd name="T40" fmla="*/ 686 w 686"/>
                <a:gd name="T41" fmla="*/ 0 h 1129"/>
                <a:gd name="T42" fmla="*/ 514 w 686"/>
                <a:gd name="T4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1129">
                  <a:moveTo>
                    <a:pt x="499" y="440"/>
                  </a:moveTo>
                  <a:lnTo>
                    <a:pt x="499" y="440"/>
                  </a:lnTo>
                  <a:cubicBezTo>
                    <a:pt x="505" y="447"/>
                    <a:pt x="510" y="454"/>
                    <a:pt x="514" y="462"/>
                  </a:cubicBezTo>
                  <a:cubicBezTo>
                    <a:pt x="526" y="485"/>
                    <a:pt x="532" y="514"/>
                    <a:pt x="532" y="551"/>
                  </a:cubicBezTo>
                  <a:lnTo>
                    <a:pt x="532" y="826"/>
                  </a:lnTo>
                  <a:cubicBezTo>
                    <a:pt x="532" y="939"/>
                    <a:pt x="480" y="984"/>
                    <a:pt x="343" y="984"/>
                  </a:cubicBezTo>
                  <a:cubicBezTo>
                    <a:pt x="206" y="984"/>
                    <a:pt x="159" y="937"/>
                    <a:pt x="155" y="826"/>
                  </a:cubicBezTo>
                  <a:cubicBezTo>
                    <a:pt x="150" y="704"/>
                    <a:pt x="152" y="605"/>
                    <a:pt x="155" y="551"/>
                  </a:cubicBezTo>
                  <a:cubicBezTo>
                    <a:pt x="157" y="502"/>
                    <a:pt x="164" y="466"/>
                    <a:pt x="186" y="440"/>
                  </a:cubicBezTo>
                  <a:cubicBezTo>
                    <a:pt x="236" y="381"/>
                    <a:pt x="430" y="371"/>
                    <a:pt x="499" y="440"/>
                  </a:cubicBezTo>
                  <a:lnTo>
                    <a:pt x="499" y="440"/>
                  </a:lnTo>
                  <a:close/>
                  <a:moveTo>
                    <a:pt x="514" y="0"/>
                  </a:moveTo>
                  <a:lnTo>
                    <a:pt x="514" y="0"/>
                  </a:lnTo>
                  <a:lnTo>
                    <a:pt x="514" y="274"/>
                  </a:lnTo>
                  <a:cubicBezTo>
                    <a:pt x="463" y="254"/>
                    <a:pt x="406" y="248"/>
                    <a:pt x="342" y="248"/>
                  </a:cubicBezTo>
                  <a:cubicBezTo>
                    <a:pt x="214" y="248"/>
                    <a:pt x="0" y="286"/>
                    <a:pt x="0" y="543"/>
                  </a:cubicBezTo>
                  <a:cubicBezTo>
                    <a:pt x="0" y="543"/>
                    <a:pt x="0" y="852"/>
                    <a:pt x="0" y="855"/>
                  </a:cubicBezTo>
                  <a:cubicBezTo>
                    <a:pt x="0" y="926"/>
                    <a:pt x="31" y="997"/>
                    <a:pt x="74" y="1040"/>
                  </a:cubicBezTo>
                  <a:cubicBezTo>
                    <a:pt x="122" y="1088"/>
                    <a:pt x="192" y="1129"/>
                    <a:pt x="353" y="1129"/>
                  </a:cubicBezTo>
                  <a:cubicBezTo>
                    <a:pt x="515" y="1129"/>
                    <a:pt x="686" y="1060"/>
                    <a:pt x="686" y="835"/>
                  </a:cubicBezTo>
                  <a:cubicBezTo>
                    <a:pt x="686" y="829"/>
                    <a:pt x="686" y="0"/>
                    <a:pt x="686" y="0"/>
                  </a:cubicBezTo>
                  <a:lnTo>
                    <a:pt x="5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5" name="Freeform 13">
              <a:extLst>
                <a:ext uri="{FF2B5EF4-FFF2-40B4-BE49-F238E27FC236}">
                  <a16:creationId xmlns:a16="http://schemas.microsoft.com/office/drawing/2014/main" id="{7EFE5A71-B05C-90EF-A1EA-AC09D0FE1364}"/>
                </a:ext>
              </a:extLst>
            </p:cNvPr>
            <p:cNvSpPr>
              <a:spLocks noEditPoints="1"/>
            </p:cNvSpPr>
            <p:nvPr/>
          </p:nvSpPr>
          <p:spPr bwMode="auto">
            <a:xfrm>
              <a:off x="-3222625" y="8086726"/>
              <a:ext cx="234950" cy="184150"/>
            </a:xfrm>
            <a:custGeom>
              <a:avLst/>
              <a:gdLst>
                <a:gd name="T0" fmla="*/ 512 w 1431"/>
                <a:gd name="T1" fmla="*/ 483 h 1118"/>
                <a:gd name="T2" fmla="*/ 512 w 1431"/>
                <a:gd name="T3" fmla="*/ 483 h 1118"/>
                <a:gd name="T4" fmla="*/ 594 w 1431"/>
                <a:gd name="T5" fmla="*/ 321 h 1118"/>
                <a:gd name="T6" fmla="*/ 796 w 1431"/>
                <a:gd name="T7" fmla="*/ 152 h 1118"/>
                <a:gd name="T8" fmla="*/ 842 w 1431"/>
                <a:gd name="T9" fmla="*/ 152 h 1118"/>
                <a:gd name="T10" fmla="*/ 842 w 1431"/>
                <a:gd name="T11" fmla="*/ 483 h 1118"/>
                <a:gd name="T12" fmla="*/ 512 w 1431"/>
                <a:gd name="T13" fmla="*/ 483 h 1118"/>
                <a:gd name="T14" fmla="*/ 512 w 1431"/>
                <a:gd name="T15" fmla="*/ 483 h 1118"/>
                <a:gd name="T16" fmla="*/ 1189 w 1431"/>
                <a:gd name="T17" fmla="*/ 964 h 1118"/>
                <a:gd name="T18" fmla="*/ 1189 w 1431"/>
                <a:gd name="T19" fmla="*/ 964 h 1118"/>
                <a:gd name="T20" fmla="*/ 1017 w 1431"/>
                <a:gd name="T21" fmla="*/ 829 h 1118"/>
                <a:gd name="T22" fmla="*/ 1017 w 1431"/>
                <a:gd name="T23" fmla="*/ 631 h 1118"/>
                <a:gd name="T24" fmla="*/ 1403 w 1431"/>
                <a:gd name="T25" fmla="*/ 631 h 1118"/>
                <a:gd name="T26" fmla="*/ 1403 w 1431"/>
                <a:gd name="T27" fmla="*/ 483 h 1118"/>
                <a:gd name="T28" fmla="*/ 1017 w 1431"/>
                <a:gd name="T29" fmla="*/ 483 h 1118"/>
                <a:gd name="T30" fmla="*/ 1017 w 1431"/>
                <a:gd name="T31" fmla="*/ 151 h 1118"/>
                <a:gd name="T32" fmla="*/ 1403 w 1431"/>
                <a:gd name="T33" fmla="*/ 151 h 1118"/>
                <a:gd name="T34" fmla="*/ 1403 w 1431"/>
                <a:gd name="T35" fmla="*/ 0 h 1118"/>
                <a:gd name="T36" fmla="*/ 803 w 1431"/>
                <a:gd name="T37" fmla="*/ 0 h 1118"/>
                <a:gd name="T38" fmla="*/ 443 w 1431"/>
                <a:gd name="T39" fmla="*/ 263 h 1118"/>
                <a:gd name="T40" fmla="*/ 0 w 1431"/>
                <a:gd name="T41" fmla="*/ 1118 h 1118"/>
                <a:gd name="T42" fmla="*/ 192 w 1431"/>
                <a:gd name="T43" fmla="*/ 1118 h 1118"/>
                <a:gd name="T44" fmla="*/ 440 w 1431"/>
                <a:gd name="T45" fmla="*/ 625 h 1118"/>
                <a:gd name="T46" fmla="*/ 842 w 1431"/>
                <a:gd name="T47" fmla="*/ 625 h 1118"/>
                <a:gd name="T48" fmla="*/ 842 w 1431"/>
                <a:gd name="T49" fmla="*/ 856 h 1118"/>
                <a:gd name="T50" fmla="*/ 909 w 1431"/>
                <a:gd name="T51" fmla="*/ 1035 h 1118"/>
                <a:gd name="T52" fmla="*/ 1107 w 1431"/>
                <a:gd name="T53" fmla="*/ 1118 h 1118"/>
                <a:gd name="T54" fmla="*/ 1431 w 1431"/>
                <a:gd name="T55" fmla="*/ 1118 h 1118"/>
                <a:gd name="T56" fmla="*/ 1431 w 1431"/>
                <a:gd name="T57" fmla="*/ 964 h 1118"/>
                <a:gd name="T58" fmla="*/ 1189 w 1431"/>
                <a:gd name="T59" fmla="*/ 964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1" h="1118">
                  <a:moveTo>
                    <a:pt x="512" y="483"/>
                  </a:moveTo>
                  <a:lnTo>
                    <a:pt x="512" y="483"/>
                  </a:lnTo>
                  <a:lnTo>
                    <a:pt x="594" y="321"/>
                  </a:lnTo>
                  <a:cubicBezTo>
                    <a:pt x="654" y="201"/>
                    <a:pt x="722" y="152"/>
                    <a:pt x="796" y="152"/>
                  </a:cubicBezTo>
                  <a:lnTo>
                    <a:pt x="842" y="152"/>
                  </a:lnTo>
                  <a:lnTo>
                    <a:pt x="842" y="483"/>
                  </a:lnTo>
                  <a:lnTo>
                    <a:pt x="512" y="483"/>
                  </a:lnTo>
                  <a:lnTo>
                    <a:pt x="512" y="483"/>
                  </a:lnTo>
                  <a:close/>
                  <a:moveTo>
                    <a:pt x="1189" y="964"/>
                  </a:moveTo>
                  <a:lnTo>
                    <a:pt x="1189" y="964"/>
                  </a:lnTo>
                  <a:cubicBezTo>
                    <a:pt x="1065" y="960"/>
                    <a:pt x="1022" y="922"/>
                    <a:pt x="1017" y="829"/>
                  </a:cubicBezTo>
                  <a:lnTo>
                    <a:pt x="1017" y="631"/>
                  </a:lnTo>
                  <a:lnTo>
                    <a:pt x="1403" y="631"/>
                  </a:lnTo>
                  <a:lnTo>
                    <a:pt x="1403" y="483"/>
                  </a:lnTo>
                  <a:lnTo>
                    <a:pt x="1017" y="483"/>
                  </a:lnTo>
                  <a:lnTo>
                    <a:pt x="1017" y="151"/>
                  </a:lnTo>
                  <a:lnTo>
                    <a:pt x="1403" y="151"/>
                  </a:lnTo>
                  <a:lnTo>
                    <a:pt x="1403" y="0"/>
                  </a:lnTo>
                  <a:lnTo>
                    <a:pt x="803" y="0"/>
                  </a:lnTo>
                  <a:cubicBezTo>
                    <a:pt x="628" y="3"/>
                    <a:pt x="544" y="68"/>
                    <a:pt x="443" y="263"/>
                  </a:cubicBezTo>
                  <a:lnTo>
                    <a:pt x="0" y="1118"/>
                  </a:lnTo>
                  <a:lnTo>
                    <a:pt x="192" y="1118"/>
                  </a:lnTo>
                  <a:lnTo>
                    <a:pt x="440" y="625"/>
                  </a:lnTo>
                  <a:lnTo>
                    <a:pt x="842" y="625"/>
                  </a:lnTo>
                  <a:lnTo>
                    <a:pt x="842" y="856"/>
                  </a:lnTo>
                  <a:cubicBezTo>
                    <a:pt x="842" y="927"/>
                    <a:pt x="866" y="992"/>
                    <a:pt x="909" y="1035"/>
                  </a:cubicBezTo>
                  <a:cubicBezTo>
                    <a:pt x="957" y="1084"/>
                    <a:pt x="1036" y="1118"/>
                    <a:pt x="1107" y="1118"/>
                  </a:cubicBezTo>
                  <a:lnTo>
                    <a:pt x="1431" y="1118"/>
                  </a:lnTo>
                  <a:lnTo>
                    <a:pt x="1431" y="964"/>
                  </a:lnTo>
                  <a:lnTo>
                    <a:pt x="1189" y="9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39" name="Kombinationstegning: figur 38">
              <a:extLst>
                <a:ext uri="{FF2B5EF4-FFF2-40B4-BE49-F238E27FC236}">
                  <a16:creationId xmlns:a16="http://schemas.microsoft.com/office/drawing/2014/main" id="{378FDDF4-9A84-2972-8A9F-84F8B6340A2F}"/>
                </a:ext>
              </a:extLst>
            </p:cNvPr>
            <p:cNvSpPr>
              <a:spLocks/>
            </p:cNvSpPr>
            <p:nvPr/>
          </p:nvSpPr>
          <p:spPr bwMode="auto">
            <a:xfrm>
              <a:off x="-2516188" y="8053388"/>
              <a:ext cx="252413" cy="252413"/>
            </a:xfrm>
            <a:custGeom>
              <a:avLst/>
              <a:gdLst>
                <a:gd name="connsiteX0" fmla="*/ 129802 w 252413"/>
                <a:gd name="connsiteY0" fmla="*/ 32470 h 252413"/>
                <a:gd name="connsiteX1" fmla="*/ 127677 w 252413"/>
                <a:gd name="connsiteY1" fmla="*/ 32800 h 252413"/>
                <a:gd name="connsiteX2" fmla="*/ 125390 w 252413"/>
                <a:gd name="connsiteY2" fmla="*/ 32965 h 252413"/>
                <a:gd name="connsiteX3" fmla="*/ 124409 w 252413"/>
                <a:gd name="connsiteY3" fmla="*/ 33130 h 252413"/>
                <a:gd name="connsiteX4" fmla="*/ 121467 w 252413"/>
                <a:gd name="connsiteY4" fmla="*/ 33624 h 252413"/>
                <a:gd name="connsiteX5" fmla="*/ 117055 w 252413"/>
                <a:gd name="connsiteY5" fmla="*/ 34777 h 252413"/>
                <a:gd name="connsiteX6" fmla="*/ 115421 w 252413"/>
                <a:gd name="connsiteY6" fmla="*/ 35272 h 252413"/>
                <a:gd name="connsiteX7" fmla="*/ 114440 w 252413"/>
                <a:gd name="connsiteY7" fmla="*/ 36590 h 252413"/>
                <a:gd name="connsiteX8" fmla="*/ 116075 w 252413"/>
                <a:gd name="connsiteY8" fmla="*/ 38238 h 252413"/>
                <a:gd name="connsiteX9" fmla="*/ 117382 w 252413"/>
                <a:gd name="connsiteY9" fmla="*/ 38403 h 252413"/>
                <a:gd name="connsiteX10" fmla="*/ 125390 w 252413"/>
                <a:gd name="connsiteY10" fmla="*/ 40051 h 252413"/>
                <a:gd name="connsiteX11" fmla="*/ 127677 w 252413"/>
                <a:gd name="connsiteY11" fmla="*/ 40545 h 252413"/>
                <a:gd name="connsiteX12" fmla="*/ 154315 w 252413"/>
                <a:gd name="connsiteY12" fmla="*/ 52081 h 252413"/>
                <a:gd name="connsiteX13" fmla="*/ 180625 w 252413"/>
                <a:gd name="connsiteY13" fmla="*/ 122447 h 252413"/>
                <a:gd name="connsiteX14" fmla="*/ 148268 w 252413"/>
                <a:gd name="connsiteY14" fmla="*/ 154087 h 252413"/>
                <a:gd name="connsiteX15" fmla="*/ 120814 w 252413"/>
                <a:gd name="connsiteY15" fmla="*/ 134147 h 252413"/>
                <a:gd name="connsiteX16" fmla="*/ 121141 w 252413"/>
                <a:gd name="connsiteY16" fmla="*/ 133323 h 252413"/>
                <a:gd name="connsiteX17" fmla="*/ 121304 w 252413"/>
                <a:gd name="connsiteY17" fmla="*/ 133158 h 252413"/>
                <a:gd name="connsiteX18" fmla="*/ 121467 w 252413"/>
                <a:gd name="connsiteY18" fmla="*/ 132994 h 252413"/>
                <a:gd name="connsiteX19" fmla="*/ 122121 w 252413"/>
                <a:gd name="connsiteY19" fmla="*/ 133488 h 252413"/>
                <a:gd name="connsiteX20" fmla="*/ 123102 w 252413"/>
                <a:gd name="connsiteY20" fmla="*/ 136784 h 252413"/>
                <a:gd name="connsiteX21" fmla="*/ 136992 w 252413"/>
                <a:gd name="connsiteY21" fmla="*/ 144364 h 252413"/>
                <a:gd name="connsiteX22" fmla="*/ 139280 w 252413"/>
                <a:gd name="connsiteY22" fmla="*/ 144035 h 252413"/>
                <a:gd name="connsiteX23" fmla="*/ 152517 w 252413"/>
                <a:gd name="connsiteY23" fmla="*/ 71691 h 252413"/>
                <a:gd name="connsiteX24" fmla="*/ 37306 w 252413"/>
                <a:gd name="connsiteY24" fmla="*/ 107945 h 252413"/>
                <a:gd name="connsiteX25" fmla="*/ 42863 w 252413"/>
                <a:gd name="connsiteY25" fmla="*/ 170731 h 252413"/>
                <a:gd name="connsiteX26" fmla="*/ 121631 w 252413"/>
                <a:gd name="connsiteY26" fmla="*/ 218356 h 252413"/>
                <a:gd name="connsiteX27" fmla="*/ 124736 w 252413"/>
                <a:gd name="connsiteY27" fmla="*/ 218191 h 252413"/>
                <a:gd name="connsiteX28" fmla="*/ 127024 w 252413"/>
                <a:gd name="connsiteY28" fmla="*/ 217862 h 252413"/>
                <a:gd name="connsiteX29" fmla="*/ 131109 w 252413"/>
                <a:gd name="connsiteY29" fmla="*/ 217203 h 252413"/>
                <a:gd name="connsiteX30" fmla="*/ 135522 w 252413"/>
                <a:gd name="connsiteY30" fmla="*/ 216049 h 252413"/>
                <a:gd name="connsiteX31" fmla="*/ 136992 w 252413"/>
                <a:gd name="connsiteY31" fmla="*/ 215555 h 252413"/>
                <a:gd name="connsiteX32" fmla="*/ 137973 w 252413"/>
                <a:gd name="connsiteY32" fmla="*/ 214236 h 252413"/>
                <a:gd name="connsiteX33" fmla="*/ 136339 w 252413"/>
                <a:gd name="connsiteY33" fmla="*/ 212753 h 252413"/>
                <a:gd name="connsiteX34" fmla="*/ 135031 w 252413"/>
                <a:gd name="connsiteY34" fmla="*/ 212424 h 252413"/>
                <a:gd name="connsiteX35" fmla="*/ 127187 w 252413"/>
                <a:gd name="connsiteY35" fmla="*/ 210776 h 252413"/>
                <a:gd name="connsiteX36" fmla="*/ 124899 w 252413"/>
                <a:gd name="connsiteY36" fmla="*/ 210281 h 252413"/>
                <a:gd name="connsiteX37" fmla="*/ 98098 w 252413"/>
                <a:gd name="connsiteY37" fmla="*/ 198746 h 252413"/>
                <a:gd name="connsiteX38" fmla="*/ 71788 w 252413"/>
                <a:gd name="connsiteY38" fmla="*/ 128380 h 252413"/>
                <a:gd name="connsiteX39" fmla="*/ 104145 w 252413"/>
                <a:gd name="connsiteY39" fmla="*/ 96739 h 252413"/>
                <a:gd name="connsiteX40" fmla="*/ 131763 w 252413"/>
                <a:gd name="connsiteY40" fmla="*/ 116844 h 252413"/>
                <a:gd name="connsiteX41" fmla="*/ 131109 w 252413"/>
                <a:gd name="connsiteY41" fmla="*/ 117833 h 252413"/>
                <a:gd name="connsiteX42" fmla="*/ 130456 w 252413"/>
                <a:gd name="connsiteY42" fmla="*/ 117338 h 252413"/>
                <a:gd name="connsiteX43" fmla="*/ 129312 w 252413"/>
                <a:gd name="connsiteY43" fmla="*/ 114043 h 252413"/>
                <a:gd name="connsiteX44" fmla="*/ 115584 w 252413"/>
                <a:gd name="connsiteY44" fmla="*/ 106627 h 252413"/>
                <a:gd name="connsiteX45" fmla="*/ 113133 w 252413"/>
                <a:gd name="connsiteY45" fmla="*/ 106792 h 252413"/>
                <a:gd name="connsiteX46" fmla="*/ 99896 w 252413"/>
                <a:gd name="connsiteY46" fmla="*/ 179136 h 252413"/>
                <a:gd name="connsiteX47" fmla="*/ 215270 w 252413"/>
                <a:gd name="connsiteY47" fmla="*/ 142881 h 252413"/>
                <a:gd name="connsiteX48" fmla="*/ 209551 w 252413"/>
                <a:gd name="connsiteY48" fmla="*/ 80095 h 252413"/>
                <a:gd name="connsiteX49" fmla="*/ 130782 w 252413"/>
                <a:gd name="connsiteY49" fmla="*/ 32470 h 252413"/>
                <a:gd name="connsiteX50" fmla="*/ 129802 w 252413"/>
                <a:gd name="connsiteY50" fmla="*/ 32470 h 252413"/>
                <a:gd name="connsiteX51" fmla="*/ 126125 w 252413"/>
                <a:gd name="connsiteY51" fmla="*/ 0 h 252413"/>
                <a:gd name="connsiteX52" fmla="*/ 252413 w 252413"/>
                <a:gd name="connsiteY52" fmla="*/ 126207 h 252413"/>
                <a:gd name="connsiteX53" fmla="*/ 126125 w 252413"/>
                <a:gd name="connsiteY53" fmla="*/ 252413 h 252413"/>
                <a:gd name="connsiteX54" fmla="*/ 0 w 252413"/>
                <a:gd name="connsiteY54" fmla="*/ 126207 h 252413"/>
                <a:gd name="connsiteX55" fmla="*/ 126125 w 252413"/>
                <a:gd name="connsiteY55" fmla="*/ 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2413" h="252413">
                  <a:moveTo>
                    <a:pt x="129802" y="32470"/>
                  </a:moveTo>
                  <a:cubicBezTo>
                    <a:pt x="129148" y="32635"/>
                    <a:pt x="128331" y="32635"/>
                    <a:pt x="127677" y="32800"/>
                  </a:cubicBezTo>
                  <a:cubicBezTo>
                    <a:pt x="126860" y="32800"/>
                    <a:pt x="126207" y="32965"/>
                    <a:pt x="125390" y="32965"/>
                  </a:cubicBezTo>
                  <a:cubicBezTo>
                    <a:pt x="125063" y="33130"/>
                    <a:pt x="124736" y="33130"/>
                    <a:pt x="124409" y="33130"/>
                  </a:cubicBezTo>
                  <a:cubicBezTo>
                    <a:pt x="123428" y="33294"/>
                    <a:pt x="122448" y="33459"/>
                    <a:pt x="121467" y="33624"/>
                  </a:cubicBezTo>
                  <a:cubicBezTo>
                    <a:pt x="121304" y="33789"/>
                    <a:pt x="117382" y="34613"/>
                    <a:pt x="117055" y="34777"/>
                  </a:cubicBezTo>
                  <a:cubicBezTo>
                    <a:pt x="116728" y="34777"/>
                    <a:pt x="115584" y="35107"/>
                    <a:pt x="115421" y="35272"/>
                  </a:cubicBezTo>
                  <a:cubicBezTo>
                    <a:pt x="114931" y="35601"/>
                    <a:pt x="114440" y="36096"/>
                    <a:pt x="114440" y="36590"/>
                  </a:cubicBezTo>
                  <a:cubicBezTo>
                    <a:pt x="114440" y="37414"/>
                    <a:pt x="115094" y="37908"/>
                    <a:pt x="116075" y="38238"/>
                  </a:cubicBezTo>
                  <a:cubicBezTo>
                    <a:pt x="116075" y="38238"/>
                    <a:pt x="117055" y="38403"/>
                    <a:pt x="117382" y="38403"/>
                  </a:cubicBezTo>
                  <a:cubicBezTo>
                    <a:pt x="119180" y="38897"/>
                    <a:pt x="122775" y="39556"/>
                    <a:pt x="125390" y="40051"/>
                  </a:cubicBezTo>
                  <a:cubicBezTo>
                    <a:pt x="126207" y="40216"/>
                    <a:pt x="127024" y="40545"/>
                    <a:pt x="127677" y="40545"/>
                  </a:cubicBezTo>
                  <a:cubicBezTo>
                    <a:pt x="137156" y="42687"/>
                    <a:pt x="146307" y="46313"/>
                    <a:pt x="154315" y="52081"/>
                  </a:cubicBezTo>
                  <a:cubicBezTo>
                    <a:pt x="176213" y="67736"/>
                    <a:pt x="189287" y="94762"/>
                    <a:pt x="180625" y="122447"/>
                  </a:cubicBezTo>
                  <a:cubicBezTo>
                    <a:pt x="174579" y="142057"/>
                    <a:pt x="161015" y="151780"/>
                    <a:pt x="148268" y="154087"/>
                  </a:cubicBezTo>
                  <a:cubicBezTo>
                    <a:pt x="131926" y="157383"/>
                    <a:pt x="117055" y="148649"/>
                    <a:pt x="120814" y="134147"/>
                  </a:cubicBezTo>
                  <a:cubicBezTo>
                    <a:pt x="120814" y="133818"/>
                    <a:pt x="120977" y="133488"/>
                    <a:pt x="121141" y="133323"/>
                  </a:cubicBezTo>
                  <a:cubicBezTo>
                    <a:pt x="121141" y="133323"/>
                    <a:pt x="121141" y="133158"/>
                    <a:pt x="121304" y="133158"/>
                  </a:cubicBezTo>
                  <a:cubicBezTo>
                    <a:pt x="121304" y="132994"/>
                    <a:pt x="121467" y="132994"/>
                    <a:pt x="121467" y="132994"/>
                  </a:cubicBezTo>
                  <a:cubicBezTo>
                    <a:pt x="121794" y="132994"/>
                    <a:pt x="121958" y="133158"/>
                    <a:pt x="122121" y="133488"/>
                  </a:cubicBezTo>
                  <a:cubicBezTo>
                    <a:pt x="122121" y="133488"/>
                    <a:pt x="122611" y="135466"/>
                    <a:pt x="123102" y="136784"/>
                  </a:cubicBezTo>
                  <a:cubicBezTo>
                    <a:pt x="125880" y="142222"/>
                    <a:pt x="131273" y="144364"/>
                    <a:pt x="136992" y="144364"/>
                  </a:cubicBezTo>
                  <a:cubicBezTo>
                    <a:pt x="137809" y="144200"/>
                    <a:pt x="138463" y="144200"/>
                    <a:pt x="139280" y="144035"/>
                  </a:cubicBezTo>
                  <a:cubicBezTo>
                    <a:pt x="173435" y="139750"/>
                    <a:pt x="175723" y="93114"/>
                    <a:pt x="152517" y="71691"/>
                  </a:cubicBezTo>
                  <a:cubicBezTo>
                    <a:pt x="113460" y="35272"/>
                    <a:pt x="50217" y="56860"/>
                    <a:pt x="37306" y="107945"/>
                  </a:cubicBezTo>
                  <a:cubicBezTo>
                    <a:pt x="31750" y="125908"/>
                    <a:pt x="32567" y="147331"/>
                    <a:pt x="42863" y="170731"/>
                  </a:cubicBezTo>
                  <a:cubicBezTo>
                    <a:pt x="55609" y="199075"/>
                    <a:pt x="88130" y="220663"/>
                    <a:pt x="121631" y="218356"/>
                  </a:cubicBezTo>
                  <a:cubicBezTo>
                    <a:pt x="121958" y="218356"/>
                    <a:pt x="124082" y="218191"/>
                    <a:pt x="124736" y="218191"/>
                  </a:cubicBezTo>
                  <a:cubicBezTo>
                    <a:pt x="125553" y="218027"/>
                    <a:pt x="126370" y="217862"/>
                    <a:pt x="127024" y="217862"/>
                  </a:cubicBezTo>
                  <a:cubicBezTo>
                    <a:pt x="127351" y="217862"/>
                    <a:pt x="129965" y="217367"/>
                    <a:pt x="131109" y="217203"/>
                  </a:cubicBezTo>
                  <a:cubicBezTo>
                    <a:pt x="131109" y="217203"/>
                    <a:pt x="135195" y="216214"/>
                    <a:pt x="135522" y="216049"/>
                  </a:cubicBezTo>
                  <a:cubicBezTo>
                    <a:pt x="135848" y="216049"/>
                    <a:pt x="136829" y="215719"/>
                    <a:pt x="136992" y="215555"/>
                  </a:cubicBezTo>
                  <a:cubicBezTo>
                    <a:pt x="137483" y="215225"/>
                    <a:pt x="137973" y="214896"/>
                    <a:pt x="137973" y="214236"/>
                  </a:cubicBezTo>
                  <a:cubicBezTo>
                    <a:pt x="137973" y="213412"/>
                    <a:pt x="137319" y="212918"/>
                    <a:pt x="136339" y="212753"/>
                  </a:cubicBezTo>
                  <a:cubicBezTo>
                    <a:pt x="136339" y="212753"/>
                    <a:pt x="135522" y="212424"/>
                    <a:pt x="135031" y="212424"/>
                  </a:cubicBezTo>
                  <a:cubicBezTo>
                    <a:pt x="133234" y="212094"/>
                    <a:pt x="129638" y="211270"/>
                    <a:pt x="127187" y="210776"/>
                  </a:cubicBezTo>
                  <a:cubicBezTo>
                    <a:pt x="126207" y="210611"/>
                    <a:pt x="125553" y="210446"/>
                    <a:pt x="124899" y="210281"/>
                  </a:cubicBezTo>
                  <a:cubicBezTo>
                    <a:pt x="115421" y="208139"/>
                    <a:pt x="106269" y="204514"/>
                    <a:pt x="98098" y="198746"/>
                  </a:cubicBezTo>
                  <a:cubicBezTo>
                    <a:pt x="76200" y="183091"/>
                    <a:pt x="63127" y="156065"/>
                    <a:pt x="71788" y="128380"/>
                  </a:cubicBezTo>
                  <a:cubicBezTo>
                    <a:pt x="77998" y="108769"/>
                    <a:pt x="91398" y="99211"/>
                    <a:pt x="104145" y="96739"/>
                  </a:cubicBezTo>
                  <a:cubicBezTo>
                    <a:pt x="120487" y="93608"/>
                    <a:pt x="135522" y="102178"/>
                    <a:pt x="131763" y="116844"/>
                  </a:cubicBezTo>
                  <a:cubicBezTo>
                    <a:pt x="131599" y="117503"/>
                    <a:pt x="131273" y="117833"/>
                    <a:pt x="131109" y="117833"/>
                  </a:cubicBezTo>
                  <a:cubicBezTo>
                    <a:pt x="130782" y="117833"/>
                    <a:pt x="130456" y="117338"/>
                    <a:pt x="130456" y="117338"/>
                  </a:cubicBezTo>
                  <a:cubicBezTo>
                    <a:pt x="130456" y="117338"/>
                    <a:pt x="129965" y="115361"/>
                    <a:pt x="129312" y="114043"/>
                  </a:cubicBezTo>
                  <a:cubicBezTo>
                    <a:pt x="126533" y="108604"/>
                    <a:pt x="121141" y="106462"/>
                    <a:pt x="115584" y="106627"/>
                  </a:cubicBezTo>
                  <a:cubicBezTo>
                    <a:pt x="114767" y="106627"/>
                    <a:pt x="113950" y="106627"/>
                    <a:pt x="113133" y="106792"/>
                  </a:cubicBezTo>
                  <a:cubicBezTo>
                    <a:pt x="78978" y="111076"/>
                    <a:pt x="76854" y="157877"/>
                    <a:pt x="99896" y="179136"/>
                  </a:cubicBezTo>
                  <a:cubicBezTo>
                    <a:pt x="139117" y="215555"/>
                    <a:pt x="202360" y="194132"/>
                    <a:pt x="215270" y="142881"/>
                  </a:cubicBezTo>
                  <a:cubicBezTo>
                    <a:pt x="220663" y="124919"/>
                    <a:pt x="220009" y="103496"/>
                    <a:pt x="209551" y="80095"/>
                  </a:cubicBezTo>
                  <a:cubicBezTo>
                    <a:pt x="196967" y="51916"/>
                    <a:pt x="164447" y="30163"/>
                    <a:pt x="130782" y="32470"/>
                  </a:cubicBezTo>
                  <a:cubicBezTo>
                    <a:pt x="130456" y="32470"/>
                    <a:pt x="130129" y="32470"/>
                    <a:pt x="129802" y="32470"/>
                  </a:cubicBezTo>
                  <a:close/>
                  <a:moveTo>
                    <a:pt x="126125" y="0"/>
                  </a:moveTo>
                  <a:cubicBezTo>
                    <a:pt x="195829" y="0"/>
                    <a:pt x="252413" y="56457"/>
                    <a:pt x="252413" y="126207"/>
                  </a:cubicBezTo>
                  <a:cubicBezTo>
                    <a:pt x="252413" y="195957"/>
                    <a:pt x="195829" y="252413"/>
                    <a:pt x="126125" y="252413"/>
                  </a:cubicBezTo>
                  <a:cubicBezTo>
                    <a:pt x="56420" y="252413"/>
                    <a:pt x="0" y="195957"/>
                    <a:pt x="0" y="126207"/>
                  </a:cubicBezTo>
                  <a:cubicBezTo>
                    <a:pt x="0" y="56457"/>
                    <a:pt x="56420" y="0"/>
                    <a:pt x="1261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da-DK" sz="800"/>
            </a:p>
          </p:txBody>
        </p:sp>
        <p:sp>
          <p:nvSpPr>
            <p:cNvPr id="38" name="Freeform 16">
              <a:extLst>
                <a:ext uri="{FF2B5EF4-FFF2-40B4-BE49-F238E27FC236}">
                  <a16:creationId xmlns:a16="http://schemas.microsoft.com/office/drawing/2014/main" id="{5089C09F-C5DD-384C-1289-E6A4A7199AB2}"/>
                </a:ext>
              </a:extLst>
            </p:cNvPr>
            <p:cNvSpPr>
              <a:spLocks/>
            </p:cNvSpPr>
            <p:nvPr/>
          </p:nvSpPr>
          <p:spPr bwMode="auto">
            <a:xfrm>
              <a:off x="-1670050" y="8128001"/>
              <a:ext cx="112713" cy="142875"/>
            </a:xfrm>
            <a:custGeom>
              <a:avLst/>
              <a:gdLst>
                <a:gd name="T0" fmla="*/ 666 w 686"/>
                <a:gd name="T1" fmla="*/ 176 h 871"/>
                <a:gd name="T2" fmla="*/ 666 w 686"/>
                <a:gd name="T3" fmla="*/ 176 h 871"/>
                <a:gd name="T4" fmla="*/ 647 w 686"/>
                <a:gd name="T5" fmla="*/ 136 h 871"/>
                <a:gd name="T6" fmla="*/ 647 w 686"/>
                <a:gd name="T7" fmla="*/ 136 h 871"/>
                <a:gd name="T8" fmla="*/ 346 w 686"/>
                <a:gd name="T9" fmla="*/ 0 h 871"/>
                <a:gd name="T10" fmla="*/ 253 w 686"/>
                <a:gd name="T11" fmla="*/ 7 h 871"/>
                <a:gd name="T12" fmla="*/ 120 w 686"/>
                <a:gd name="T13" fmla="*/ 52 h 871"/>
                <a:gd name="T14" fmla="*/ 37 w 686"/>
                <a:gd name="T15" fmla="*/ 136 h 871"/>
                <a:gd name="T16" fmla="*/ 38 w 686"/>
                <a:gd name="T17" fmla="*/ 136 h 871"/>
                <a:gd name="T18" fmla="*/ 19 w 686"/>
                <a:gd name="T19" fmla="*/ 175 h 871"/>
                <a:gd name="T20" fmla="*/ 0 w 686"/>
                <a:gd name="T21" fmla="*/ 295 h 871"/>
                <a:gd name="T22" fmla="*/ 0 w 686"/>
                <a:gd name="T23" fmla="*/ 871 h 871"/>
                <a:gd name="T24" fmla="*/ 154 w 686"/>
                <a:gd name="T25" fmla="*/ 871 h 871"/>
                <a:gd name="T26" fmla="*/ 154 w 686"/>
                <a:gd name="T27" fmla="*/ 303 h 871"/>
                <a:gd name="T28" fmla="*/ 327 w 686"/>
                <a:gd name="T29" fmla="*/ 145 h 871"/>
                <a:gd name="T30" fmla="*/ 338 w 686"/>
                <a:gd name="T31" fmla="*/ 145 h 871"/>
                <a:gd name="T32" fmla="*/ 498 w 686"/>
                <a:gd name="T33" fmla="*/ 191 h 871"/>
                <a:gd name="T34" fmla="*/ 501 w 686"/>
                <a:gd name="T35" fmla="*/ 194 h 871"/>
                <a:gd name="T36" fmla="*/ 504 w 686"/>
                <a:gd name="T37" fmla="*/ 199 h 871"/>
                <a:gd name="T38" fmla="*/ 530 w 686"/>
                <a:gd name="T39" fmla="*/ 275 h 871"/>
                <a:gd name="T40" fmla="*/ 531 w 686"/>
                <a:gd name="T41" fmla="*/ 303 h 871"/>
                <a:gd name="T42" fmla="*/ 531 w 686"/>
                <a:gd name="T43" fmla="*/ 871 h 871"/>
                <a:gd name="T44" fmla="*/ 686 w 686"/>
                <a:gd name="T45" fmla="*/ 871 h 871"/>
                <a:gd name="T46" fmla="*/ 686 w 686"/>
                <a:gd name="T47" fmla="*/ 295 h 871"/>
                <a:gd name="T48" fmla="*/ 666 w 686"/>
                <a:gd name="T49" fmla="*/ 17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871">
                  <a:moveTo>
                    <a:pt x="666" y="176"/>
                  </a:moveTo>
                  <a:lnTo>
                    <a:pt x="666" y="176"/>
                  </a:lnTo>
                  <a:cubicBezTo>
                    <a:pt x="661" y="162"/>
                    <a:pt x="655" y="148"/>
                    <a:pt x="647" y="136"/>
                  </a:cubicBezTo>
                  <a:lnTo>
                    <a:pt x="647" y="136"/>
                  </a:lnTo>
                  <a:cubicBezTo>
                    <a:pt x="580" y="23"/>
                    <a:pt x="440" y="1"/>
                    <a:pt x="346" y="0"/>
                  </a:cubicBezTo>
                  <a:cubicBezTo>
                    <a:pt x="306" y="0"/>
                    <a:pt x="281" y="3"/>
                    <a:pt x="253" y="7"/>
                  </a:cubicBezTo>
                  <a:cubicBezTo>
                    <a:pt x="195" y="14"/>
                    <a:pt x="151" y="30"/>
                    <a:pt x="120" y="52"/>
                  </a:cubicBezTo>
                  <a:cubicBezTo>
                    <a:pt x="85" y="74"/>
                    <a:pt x="57" y="102"/>
                    <a:pt x="37" y="136"/>
                  </a:cubicBezTo>
                  <a:lnTo>
                    <a:pt x="38" y="136"/>
                  </a:lnTo>
                  <a:cubicBezTo>
                    <a:pt x="30" y="148"/>
                    <a:pt x="24" y="161"/>
                    <a:pt x="19" y="175"/>
                  </a:cubicBezTo>
                  <a:cubicBezTo>
                    <a:pt x="6" y="210"/>
                    <a:pt x="0" y="250"/>
                    <a:pt x="0" y="295"/>
                  </a:cubicBezTo>
                  <a:lnTo>
                    <a:pt x="0" y="871"/>
                  </a:lnTo>
                  <a:lnTo>
                    <a:pt x="154" y="871"/>
                  </a:lnTo>
                  <a:lnTo>
                    <a:pt x="154" y="303"/>
                  </a:lnTo>
                  <a:cubicBezTo>
                    <a:pt x="154" y="196"/>
                    <a:pt x="197" y="151"/>
                    <a:pt x="327" y="145"/>
                  </a:cubicBezTo>
                  <a:cubicBezTo>
                    <a:pt x="332" y="145"/>
                    <a:pt x="339" y="145"/>
                    <a:pt x="338" y="145"/>
                  </a:cubicBezTo>
                  <a:cubicBezTo>
                    <a:pt x="419" y="146"/>
                    <a:pt x="469" y="160"/>
                    <a:pt x="498" y="191"/>
                  </a:cubicBezTo>
                  <a:cubicBezTo>
                    <a:pt x="499" y="192"/>
                    <a:pt x="500" y="193"/>
                    <a:pt x="501" y="194"/>
                  </a:cubicBezTo>
                  <a:cubicBezTo>
                    <a:pt x="502" y="196"/>
                    <a:pt x="503" y="197"/>
                    <a:pt x="504" y="199"/>
                  </a:cubicBezTo>
                  <a:cubicBezTo>
                    <a:pt x="519" y="218"/>
                    <a:pt x="527" y="243"/>
                    <a:pt x="530" y="275"/>
                  </a:cubicBezTo>
                  <a:cubicBezTo>
                    <a:pt x="531" y="284"/>
                    <a:pt x="531" y="293"/>
                    <a:pt x="531" y="303"/>
                  </a:cubicBezTo>
                  <a:lnTo>
                    <a:pt x="531" y="871"/>
                  </a:lnTo>
                  <a:lnTo>
                    <a:pt x="686" y="871"/>
                  </a:lnTo>
                  <a:lnTo>
                    <a:pt x="686" y="295"/>
                  </a:lnTo>
                  <a:cubicBezTo>
                    <a:pt x="686" y="251"/>
                    <a:pt x="679" y="211"/>
                    <a:pt x="666" y="17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grpSp>
      <p:grpSp>
        <p:nvGrpSpPr>
          <p:cNvPr id="8" name="Gruppe 7">
            <a:extLst>
              <a:ext uri="{FF2B5EF4-FFF2-40B4-BE49-F238E27FC236}">
                <a16:creationId xmlns:a16="http://schemas.microsoft.com/office/drawing/2014/main" id="{826778AB-4ADA-476F-F5BC-1877799972DF}"/>
              </a:ext>
            </a:extLst>
          </p:cNvPr>
          <p:cNvGrpSpPr/>
          <p:nvPr userDrawn="1"/>
        </p:nvGrpSpPr>
        <p:grpSpPr>
          <a:xfrm>
            <a:off x="414338" y="6667500"/>
            <a:ext cx="627122" cy="108207"/>
            <a:chOff x="-3222625" y="8053388"/>
            <a:chExt cx="1665288" cy="287338"/>
          </a:xfrm>
        </p:grpSpPr>
        <p:sp>
          <p:nvSpPr>
            <p:cNvPr id="9" name="Freeform 5">
              <a:extLst>
                <a:ext uri="{FF2B5EF4-FFF2-40B4-BE49-F238E27FC236}">
                  <a16:creationId xmlns:a16="http://schemas.microsoft.com/office/drawing/2014/main" id="{D5163BCA-ACBB-EFA8-5BF0-3AA08C8B923C}"/>
                </a:ext>
              </a:extLst>
            </p:cNvPr>
            <p:cNvSpPr>
              <a:spLocks/>
            </p:cNvSpPr>
            <p:nvPr userDrawn="1"/>
          </p:nvSpPr>
          <p:spPr bwMode="auto">
            <a:xfrm>
              <a:off x="-2232025" y="8085138"/>
              <a:ext cx="119063" cy="188913"/>
            </a:xfrm>
            <a:custGeom>
              <a:avLst/>
              <a:gdLst>
                <a:gd name="T0" fmla="*/ 195 w 724"/>
                <a:gd name="T1" fmla="*/ 316 h 1151"/>
                <a:gd name="T2" fmla="*/ 195 w 724"/>
                <a:gd name="T3" fmla="*/ 316 h 1151"/>
                <a:gd name="T4" fmla="*/ 420 w 724"/>
                <a:gd name="T5" fmla="*/ 149 h 1151"/>
                <a:gd name="T6" fmla="*/ 622 w 724"/>
                <a:gd name="T7" fmla="*/ 180 h 1151"/>
                <a:gd name="T8" fmla="*/ 632 w 724"/>
                <a:gd name="T9" fmla="*/ 20 h 1151"/>
                <a:gd name="T10" fmla="*/ 430 w 724"/>
                <a:gd name="T11" fmla="*/ 0 h 1151"/>
                <a:gd name="T12" fmla="*/ 9 w 724"/>
                <a:gd name="T13" fmla="*/ 332 h 1151"/>
                <a:gd name="T14" fmla="*/ 522 w 724"/>
                <a:gd name="T15" fmla="*/ 787 h 1151"/>
                <a:gd name="T16" fmla="*/ 286 w 724"/>
                <a:gd name="T17" fmla="*/ 995 h 1151"/>
                <a:gd name="T18" fmla="*/ 47 w 724"/>
                <a:gd name="T19" fmla="*/ 947 h 1151"/>
                <a:gd name="T20" fmla="*/ 44 w 724"/>
                <a:gd name="T21" fmla="*/ 1112 h 1151"/>
                <a:gd name="T22" fmla="*/ 269 w 724"/>
                <a:gd name="T23" fmla="*/ 1151 h 1151"/>
                <a:gd name="T24" fmla="*/ 715 w 724"/>
                <a:gd name="T25" fmla="*/ 767 h 1151"/>
                <a:gd name="T26" fmla="*/ 195 w 724"/>
                <a:gd name="T27" fmla="*/ 31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1151">
                  <a:moveTo>
                    <a:pt x="195" y="316"/>
                  </a:moveTo>
                  <a:lnTo>
                    <a:pt x="195" y="316"/>
                  </a:lnTo>
                  <a:cubicBezTo>
                    <a:pt x="195" y="212"/>
                    <a:pt x="281" y="149"/>
                    <a:pt x="420" y="149"/>
                  </a:cubicBezTo>
                  <a:cubicBezTo>
                    <a:pt x="486" y="149"/>
                    <a:pt x="557" y="160"/>
                    <a:pt x="622" y="180"/>
                  </a:cubicBezTo>
                  <a:lnTo>
                    <a:pt x="632" y="20"/>
                  </a:lnTo>
                  <a:cubicBezTo>
                    <a:pt x="564" y="8"/>
                    <a:pt x="496" y="0"/>
                    <a:pt x="430" y="0"/>
                  </a:cubicBezTo>
                  <a:cubicBezTo>
                    <a:pt x="170" y="0"/>
                    <a:pt x="0" y="140"/>
                    <a:pt x="9" y="332"/>
                  </a:cubicBezTo>
                  <a:cubicBezTo>
                    <a:pt x="25" y="692"/>
                    <a:pt x="494" y="537"/>
                    <a:pt x="522" y="787"/>
                  </a:cubicBezTo>
                  <a:cubicBezTo>
                    <a:pt x="536" y="917"/>
                    <a:pt x="408" y="995"/>
                    <a:pt x="286" y="995"/>
                  </a:cubicBezTo>
                  <a:cubicBezTo>
                    <a:pt x="205" y="995"/>
                    <a:pt x="110" y="970"/>
                    <a:pt x="47" y="947"/>
                  </a:cubicBezTo>
                  <a:lnTo>
                    <a:pt x="44" y="1112"/>
                  </a:lnTo>
                  <a:cubicBezTo>
                    <a:pt x="109" y="1129"/>
                    <a:pt x="188" y="1151"/>
                    <a:pt x="269" y="1151"/>
                  </a:cubicBezTo>
                  <a:cubicBezTo>
                    <a:pt x="536" y="1151"/>
                    <a:pt x="724" y="972"/>
                    <a:pt x="715" y="767"/>
                  </a:cubicBezTo>
                  <a:cubicBezTo>
                    <a:pt x="699" y="418"/>
                    <a:pt x="195" y="539"/>
                    <a:pt x="195" y="3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0" name="Freeform 6">
              <a:extLst>
                <a:ext uri="{FF2B5EF4-FFF2-40B4-BE49-F238E27FC236}">
                  <a16:creationId xmlns:a16="http://schemas.microsoft.com/office/drawing/2014/main" id="{466C5F51-4FA5-495F-9851-0349C3DE106E}"/>
                </a:ext>
              </a:extLst>
            </p:cNvPr>
            <p:cNvSpPr>
              <a:spLocks noEditPoints="1"/>
            </p:cNvSpPr>
            <p:nvPr userDrawn="1"/>
          </p:nvSpPr>
          <p:spPr bwMode="auto">
            <a:xfrm>
              <a:off x="-1806575" y="8128001"/>
              <a:ext cx="112713"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2"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1" name="Freeform 7">
              <a:extLst>
                <a:ext uri="{FF2B5EF4-FFF2-40B4-BE49-F238E27FC236}">
                  <a16:creationId xmlns:a16="http://schemas.microsoft.com/office/drawing/2014/main" id="{1A57C059-3599-F8FD-D7B8-EBC19BD2F60D}"/>
                </a:ext>
              </a:extLst>
            </p:cNvPr>
            <p:cNvSpPr>
              <a:spLocks noEditPoints="1"/>
            </p:cNvSpPr>
            <p:nvPr userDrawn="1"/>
          </p:nvSpPr>
          <p:spPr bwMode="auto">
            <a:xfrm>
              <a:off x="-2665413" y="8128001"/>
              <a:ext cx="111125" cy="144463"/>
            </a:xfrm>
            <a:custGeom>
              <a:avLst/>
              <a:gdLst>
                <a:gd name="T0" fmla="*/ 154 w 686"/>
                <a:gd name="T1" fmla="*/ 387 h 881"/>
                <a:gd name="T2" fmla="*/ 154 w 686"/>
                <a:gd name="T3" fmla="*/ 387 h 881"/>
                <a:gd name="T4" fmla="*/ 154 w 686"/>
                <a:gd name="T5" fmla="*/ 303 h 881"/>
                <a:gd name="T6" fmla="*/ 354 w 686"/>
                <a:gd name="T7" fmla="*/ 145 h 881"/>
                <a:gd name="T8" fmla="*/ 525 w 686"/>
                <a:gd name="T9" fmla="*/ 218 h 881"/>
                <a:gd name="T10" fmla="*/ 531 w 686"/>
                <a:gd name="T11" fmla="*/ 263 h 881"/>
                <a:gd name="T12" fmla="*/ 365 w 686"/>
                <a:gd name="T13" fmla="*/ 387 h 881"/>
                <a:gd name="T14" fmla="*/ 154 w 686"/>
                <a:gd name="T15" fmla="*/ 387 h 881"/>
                <a:gd name="T16" fmla="*/ 154 w 686"/>
                <a:gd name="T17" fmla="*/ 387 h 881"/>
                <a:gd name="T18" fmla="*/ 546 w 686"/>
                <a:gd name="T19" fmla="*/ 664 h 881"/>
                <a:gd name="T20" fmla="*/ 546 w 686"/>
                <a:gd name="T21" fmla="*/ 664 h 881"/>
                <a:gd name="T22" fmla="*/ 342 w 686"/>
                <a:gd name="T23" fmla="*/ 737 h 881"/>
                <a:gd name="T24" fmla="*/ 154 w 686"/>
                <a:gd name="T25" fmla="*/ 578 h 881"/>
                <a:gd name="T26" fmla="*/ 154 w 686"/>
                <a:gd name="T27" fmla="*/ 525 h 881"/>
                <a:gd name="T28" fmla="*/ 375 w 686"/>
                <a:gd name="T29" fmla="*/ 525 h 881"/>
                <a:gd name="T30" fmla="*/ 686 w 686"/>
                <a:gd name="T31" fmla="*/ 262 h 881"/>
                <a:gd name="T32" fmla="*/ 618 w 686"/>
                <a:gd name="T33" fmla="*/ 83 h 881"/>
                <a:gd name="T34" fmla="*/ 351 w 686"/>
                <a:gd name="T35" fmla="*/ 0 h 881"/>
                <a:gd name="T36" fmla="*/ 254 w 686"/>
                <a:gd name="T37" fmla="*/ 6 h 881"/>
                <a:gd name="T38" fmla="*/ 120 w 686"/>
                <a:gd name="T39" fmla="*/ 52 h 881"/>
                <a:gd name="T40" fmla="*/ 19 w 686"/>
                <a:gd name="T41" fmla="*/ 175 h 881"/>
                <a:gd name="T42" fmla="*/ 0 w 686"/>
                <a:gd name="T43" fmla="*/ 295 h 881"/>
                <a:gd name="T44" fmla="*/ 0 w 686"/>
                <a:gd name="T45" fmla="*/ 587 h 881"/>
                <a:gd name="T46" fmla="*/ 342 w 686"/>
                <a:gd name="T47" fmla="*/ 881 h 881"/>
                <a:gd name="T48" fmla="*/ 656 w 686"/>
                <a:gd name="T49" fmla="*/ 753 h 881"/>
                <a:gd name="T50" fmla="*/ 546 w 686"/>
                <a:gd name="T51" fmla="*/ 664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6" h="881">
                  <a:moveTo>
                    <a:pt x="154" y="387"/>
                  </a:moveTo>
                  <a:lnTo>
                    <a:pt x="154" y="387"/>
                  </a:lnTo>
                  <a:lnTo>
                    <a:pt x="154" y="303"/>
                  </a:lnTo>
                  <a:cubicBezTo>
                    <a:pt x="154" y="189"/>
                    <a:pt x="202" y="145"/>
                    <a:pt x="354" y="145"/>
                  </a:cubicBezTo>
                  <a:cubicBezTo>
                    <a:pt x="506" y="145"/>
                    <a:pt x="519" y="198"/>
                    <a:pt x="525" y="218"/>
                  </a:cubicBezTo>
                  <a:cubicBezTo>
                    <a:pt x="529" y="231"/>
                    <a:pt x="531" y="247"/>
                    <a:pt x="531" y="263"/>
                  </a:cubicBezTo>
                  <a:cubicBezTo>
                    <a:pt x="531" y="372"/>
                    <a:pt x="447" y="387"/>
                    <a:pt x="365" y="387"/>
                  </a:cubicBezTo>
                  <a:lnTo>
                    <a:pt x="154" y="387"/>
                  </a:lnTo>
                  <a:lnTo>
                    <a:pt x="154" y="387"/>
                  </a:lnTo>
                  <a:close/>
                  <a:moveTo>
                    <a:pt x="546" y="664"/>
                  </a:moveTo>
                  <a:lnTo>
                    <a:pt x="546" y="664"/>
                  </a:lnTo>
                  <a:cubicBezTo>
                    <a:pt x="493" y="720"/>
                    <a:pt x="440" y="737"/>
                    <a:pt x="342" y="737"/>
                  </a:cubicBezTo>
                  <a:cubicBezTo>
                    <a:pt x="207" y="737"/>
                    <a:pt x="154" y="692"/>
                    <a:pt x="154" y="578"/>
                  </a:cubicBezTo>
                  <a:lnTo>
                    <a:pt x="154" y="525"/>
                  </a:lnTo>
                  <a:lnTo>
                    <a:pt x="375" y="525"/>
                  </a:lnTo>
                  <a:cubicBezTo>
                    <a:pt x="569" y="525"/>
                    <a:pt x="686" y="427"/>
                    <a:pt x="686" y="262"/>
                  </a:cubicBezTo>
                  <a:cubicBezTo>
                    <a:pt x="686" y="191"/>
                    <a:pt x="661" y="126"/>
                    <a:pt x="618" y="83"/>
                  </a:cubicBezTo>
                  <a:cubicBezTo>
                    <a:pt x="561" y="23"/>
                    <a:pt x="493" y="0"/>
                    <a:pt x="351" y="0"/>
                  </a:cubicBezTo>
                  <a:cubicBezTo>
                    <a:pt x="308" y="0"/>
                    <a:pt x="282" y="2"/>
                    <a:pt x="254" y="6"/>
                  </a:cubicBezTo>
                  <a:cubicBezTo>
                    <a:pt x="196" y="14"/>
                    <a:pt x="151" y="29"/>
                    <a:pt x="120" y="52"/>
                  </a:cubicBezTo>
                  <a:cubicBezTo>
                    <a:pt x="72" y="81"/>
                    <a:pt x="38" y="123"/>
                    <a:pt x="19" y="175"/>
                  </a:cubicBezTo>
                  <a:cubicBezTo>
                    <a:pt x="6" y="210"/>
                    <a:pt x="0" y="250"/>
                    <a:pt x="0" y="295"/>
                  </a:cubicBezTo>
                  <a:lnTo>
                    <a:pt x="0" y="587"/>
                  </a:lnTo>
                  <a:cubicBezTo>
                    <a:pt x="0" y="843"/>
                    <a:pt x="214" y="881"/>
                    <a:pt x="342" y="881"/>
                  </a:cubicBezTo>
                  <a:cubicBezTo>
                    <a:pt x="468" y="881"/>
                    <a:pt x="558" y="865"/>
                    <a:pt x="656" y="753"/>
                  </a:cubicBezTo>
                  <a:lnTo>
                    <a:pt x="546" y="6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2" name="Freeform 8">
              <a:extLst>
                <a:ext uri="{FF2B5EF4-FFF2-40B4-BE49-F238E27FC236}">
                  <a16:creationId xmlns:a16="http://schemas.microsoft.com/office/drawing/2014/main" id="{B6912E3C-5050-5981-FC1D-6B6FB35C3F11}"/>
                </a:ext>
              </a:extLst>
            </p:cNvPr>
            <p:cNvSpPr>
              <a:spLocks noEditPoints="1"/>
            </p:cNvSpPr>
            <p:nvPr userDrawn="1"/>
          </p:nvSpPr>
          <p:spPr bwMode="auto">
            <a:xfrm>
              <a:off x="-2097088" y="8128001"/>
              <a:ext cx="112713" cy="144463"/>
            </a:xfrm>
            <a:custGeom>
              <a:avLst/>
              <a:gdLst>
                <a:gd name="T0" fmla="*/ 532 w 687"/>
                <a:gd name="T1" fmla="*/ 494 h 881"/>
                <a:gd name="T2" fmla="*/ 532 w 687"/>
                <a:gd name="T3" fmla="*/ 494 h 881"/>
                <a:gd name="T4" fmla="*/ 532 w 687"/>
                <a:gd name="T5" fmla="*/ 578 h 881"/>
                <a:gd name="T6" fmla="*/ 332 w 687"/>
                <a:gd name="T7" fmla="*/ 737 h 881"/>
                <a:gd name="T8" fmla="*/ 161 w 687"/>
                <a:gd name="T9" fmla="*/ 663 h 881"/>
                <a:gd name="T10" fmla="*/ 155 w 687"/>
                <a:gd name="T11" fmla="*/ 618 h 881"/>
                <a:gd name="T12" fmla="*/ 321 w 687"/>
                <a:gd name="T13" fmla="*/ 494 h 881"/>
                <a:gd name="T14" fmla="*/ 532 w 687"/>
                <a:gd name="T15" fmla="*/ 494 h 881"/>
                <a:gd name="T16" fmla="*/ 532 w 687"/>
                <a:gd name="T17" fmla="*/ 494 h 881"/>
                <a:gd name="T18" fmla="*/ 140 w 687"/>
                <a:gd name="T19" fmla="*/ 218 h 881"/>
                <a:gd name="T20" fmla="*/ 140 w 687"/>
                <a:gd name="T21" fmla="*/ 218 h 881"/>
                <a:gd name="T22" fmla="*/ 344 w 687"/>
                <a:gd name="T23" fmla="*/ 145 h 881"/>
                <a:gd name="T24" fmla="*/ 532 w 687"/>
                <a:gd name="T25" fmla="*/ 303 h 881"/>
                <a:gd name="T26" fmla="*/ 532 w 687"/>
                <a:gd name="T27" fmla="*/ 356 h 881"/>
                <a:gd name="T28" fmla="*/ 312 w 687"/>
                <a:gd name="T29" fmla="*/ 356 h 881"/>
                <a:gd name="T30" fmla="*/ 0 w 687"/>
                <a:gd name="T31" fmla="*/ 620 h 881"/>
                <a:gd name="T32" fmla="*/ 68 w 687"/>
                <a:gd name="T33" fmla="*/ 798 h 881"/>
                <a:gd name="T34" fmla="*/ 336 w 687"/>
                <a:gd name="T35" fmla="*/ 881 h 881"/>
                <a:gd name="T36" fmla="*/ 433 w 687"/>
                <a:gd name="T37" fmla="*/ 875 h 881"/>
                <a:gd name="T38" fmla="*/ 566 w 687"/>
                <a:gd name="T39" fmla="*/ 829 h 881"/>
                <a:gd name="T40" fmla="*/ 667 w 687"/>
                <a:gd name="T41" fmla="*/ 706 h 881"/>
                <a:gd name="T42" fmla="*/ 687 w 687"/>
                <a:gd name="T43" fmla="*/ 587 h 881"/>
                <a:gd name="T44" fmla="*/ 687 w 687"/>
                <a:gd name="T45" fmla="*/ 295 h 881"/>
                <a:gd name="T46" fmla="*/ 344 w 687"/>
                <a:gd name="T47" fmla="*/ 0 h 881"/>
                <a:gd name="T48" fmla="*/ 31 w 687"/>
                <a:gd name="T49" fmla="*/ 129 h 881"/>
                <a:gd name="T50" fmla="*/ 140 w 687"/>
                <a:gd name="T51" fmla="*/ 218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7" h="881">
                  <a:moveTo>
                    <a:pt x="532" y="494"/>
                  </a:moveTo>
                  <a:lnTo>
                    <a:pt x="532" y="494"/>
                  </a:lnTo>
                  <a:lnTo>
                    <a:pt x="532" y="578"/>
                  </a:lnTo>
                  <a:cubicBezTo>
                    <a:pt x="532" y="692"/>
                    <a:pt x="484" y="737"/>
                    <a:pt x="332" y="737"/>
                  </a:cubicBezTo>
                  <a:cubicBezTo>
                    <a:pt x="181" y="737"/>
                    <a:pt x="167" y="683"/>
                    <a:pt x="161" y="663"/>
                  </a:cubicBezTo>
                  <a:cubicBezTo>
                    <a:pt x="157" y="650"/>
                    <a:pt x="155" y="635"/>
                    <a:pt x="155" y="618"/>
                  </a:cubicBezTo>
                  <a:cubicBezTo>
                    <a:pt x="155" y="509"/>
                    <a:pt x="239" y="494"/>
                    <a:pt x="321" y="494"/>
                  </a:cubicBezTo>
                  <a:lnTo>
                    <a:pt x="532" y="494"/>
                  </a:lnTo>
                  <a:lnTo>
                    <a:pt x="532" y="494"/>
                  </a:lnTo>
                  <a:close/>
                  <a:moveTo>
                    <a:pt x="140" y="218"/>
                  </a:moveTo>
                  <a:lnTo>
                    <a:pt x="140" y="218"/>
                  </a:lnTo>
                  <a:cubicBezTo>
                    <a:pt x="193" y="161"/>
                    <a:pt x="247" y="145"/>
                    <a:pt x="344" y="145"/>
                  </a:cubicBezTo>
                  <a:cubicBezTo>
                    <a:pt x="479" y="145"/>
                    <a:pt x="532" y="189"/>
                    <a:pt x="532" y="303"/>
                  </a:cubicBezTo>
                  <a:lnTo>
                    <a:pt x="532" y="356"/>
                  </a:lnTo>
                  <a:lnTo>
                    <a:pt x="312" y="356"/>
                  </a:lnTo>
                  <a:cubicBezTo>
                    <a:pt x="117" y="356"/>
                    <a:pt x="0" y="454"/>
                    <a:pt x="0" y="620"/>
                  </a:cubicBezTo>
                  <a:cubicBezTo>
                    <a:pt x="0" y="690"/>
                    <a:pt x="25" y="756"/>
                    <a:pt x="68" y="798"/>
                  </a:cubicBezTo>
                  <a:cubicBezTo>
                    <a:pt x="126" y="858"/>
                    <a:pt x="193" y="881"/>
                    <a:pt x="336" y="881"/>
                  </a:cubicBezTo>
                  <a:cubicBezTo>
                    <a:pt x="378" y="881"/>
                    <a:pt x="404" y="879"/>
                    <a:pt x="433" y="875"/>
                  </a:cubicBezTo>
                  <a:cubicBezTo>
                    <a:pt x="491" y="867"/>
                    <a:pt x="535" y="852"/>
                    <a:pt x="566" y="829"/>
                  </a:cubicBezTo>
                  <a:cubicBezTo>
                    <a:pt x="614" y="800"/>
                    <a:pt x="648" y="758"/>
                    <a:pt x="667" y="706"/>
                  </a:cubicBezTo>
                  <a:cubicBezTo>
                    <a:pt x="680" y="671"/>
                    <a:pt x="687" y="631"/>
                    <a:pt x="687" y="587"/>
                  </a:cubicBezTo>
                  <a:lnTo>
                    <a:pt x="687" y="295"/>
                  </a:lnTo>
                  <a:cubicBezTo>
                    <a:pt x="687" y="38"/>
                    <a:pt x="472" y="0"/>
                    <a:pt x="344" y="0"/>
                  </a:cubicBezTo>
                  <a:cubicBezTo>
                    <a:pt x="219" y="0"/>
                    <a:pt x="129" y="17"/>
                    <a:pt x="31" y="129"/>
                  </a:cubicBezTo>
                  <a:lnTo>
                    <a:pt x="140" y="21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3" name="Freeform 9">
              <a:extLst>
                <a:ext uri="{FF2B5EF4-FFF2-40B4-BE49-F238E27FC236}">
                  <a16:creationId xmlns:a16="http://schemas.microsoft.com/office/drawing/2014/main" id="{A668AE9A-D61F-D111-3D25-940444DF7A3B}"/>
                </a:ext>
              </a:extLst>
            </p:cNvPr>
            <p:cNvSpPr>
              <a:spLocks/>
            </p:cNvSpPr>
            <p:nvPr userDrawn="1"/>
          </p:nvSpPr>
          <p:spPr bwMode="auto">
            <a:xfrm>
              <a:off x="-2954338" y="8086726"/>
              <a:ext cx="28575" cy="184150"/>
            </a:xfrm>
            <a:custGeom>
              <a:avLst/>
              <a:gdLst>
                <a:gd name="T0" fmla="*/ 0 w 177"/>
                <a:gd name="T1" fmla="*/ 0 h 1118"/>
                <a:gd name="T2" fmla="*/ 0 w 177"/>
                <a:gd name="T3" fmla="*/ 0 h 1118"/>
                <a:gd name="T4" fmla="*/ 177 w 177"/>
                <a:gd name="T5" fmla="*/ 0 h 1118"/>
                <a:gd name="T6" fmla="*/ 177 w 177"/>
                <a:gd name="T7" fmla="*/ 1118 h 1118"/>
                <a:gd name="T8" fmla="*/ 0 w 177"/>
                <a:gd name="T9" fmla="*/ 1118 h 1118"/>
                <a:gd name="T10" fmla="*/ 0 w 177"/>
                <a:gd name="T11" fmla="*/ 0 h 1118"/>
              </a:gdLst>
              <a:ahLst/>
              <a:cxnLst>
                <a:cxn ang="0">
                  <a:pos x="T0" y="T1"/>
                </a:cxn>
                <a:cxn ang="0">
                  <a:pos x="T2" y="T3"/>
                </a:cxn>
                <a:cxn ang="0">
                  <a:pos x="T4" y="T5"/>
                </a:cxn>
                <a:cxn ang="0">
                  <a:pos x="T6" y="T7"/>
                </a:cxn>
                <a:cxn ang="0">
                  <a:pos x="T8" y="T9"/>
                </a:cxn>
                <a:cxn ang="0">
                  <a:pos x="T10" y="T11"/>
                </a:cxn>
              </a:cxnLst>
              <a:rect l="0" t="0" r="r" b="b"/>
              <a:pathLst>
                <a:path w="177" h="1118">
                  <a:moveTo>
                    <a:pt x="0" y="0"/>
                  </a:moveTo>
                  <a:lnTo>
                    <a:pt x="0" y="0"/>
                  </a:lnTo>
                  <a:lnTo>
                    <a:pt x="177" y="0"/>
                  </a:lnTo>
                  <a:lnTo>
                    <a:pt x="177" y="1118"/>
                  </a:lnTo>
                  <a:lnTo>
                    <a:pt x="0" y="111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4" name="Freeform 10">
              <a:extLst>
                <a:ext uri="{FF2B5EF4-FFF2-40B4-BE49-F238E27FC236}">
                  <a16:creationId xmlns:a16="http://schemas.microsoft.com/office/drawing/2014/main" id="{B67EA869-8FFF-FC8D-328C-D0E1097B1DD8}"/>
                </a:ext>
              </a:extLst>
            </p:cNvPr>
            <p:cNvSpPr>
              <a:spLocks noEditPoints="1"/>
            </p:cNvSpPr>
            <p:nvPr userDrawn="1"/>
          </p:nvSpPr>
          <p:spPr bwMode="auto">
            <a:xfrm>
              <a:off x="-1958975" y="8128001"/>
              <a:ext cx="133350" cy="212725"/>
            </a:xfrm>
            <a:custGeom>
              <a:avLst/>
              <a:gdLst>
                <a:gd name="T0" fmla="*/ 367 w 816"/>
                <a:gd name="T1" fmla="*/ 133 h 1290"/>
                <a:gd name="T2" fmla="*/ 367 w 816"/>
                <a:gd name="T3" fmla="*/ 133 h 1290"/>
                <a:gd name="T4" fmla="*/ 552 w 816"/>
                <a:gd name="T5" fmla="*/ 310 h 1290"/>
                <a:gd name="T6" fmla="*/ 365 w 816"/>
                <a:gd name="T7" fmla="*/ 483 h 1290"/>
                <a:gd name="T8" fmla="*/ 176 w 816"/>
                <a:gd name="T9" fmla="*/ 309 h 1290"/>
                <a:gd name="T10" fmla="*/ 367 w 816"/>
                <a:gd name="T11" fmla="*/ 133 h 1290"/>
                <a:gd name="T12" fmla="*/ 367 w 816"/>
                <a:gd name="T13" fmla="*/ 133 h 1290"/>
                <a:gd name="T14" fmla="*/ 501 w 816"/>
                <a:gd name="T15" fmla="*/ 714 h 1290"/>
                <a:gd name="T16" fmla="*/ 501 w 816"/>
                <a:gd name="T17" fmla="*/ 714 h 1290"/>
                <a:gd name="T18" fmla="*/ 358 w 816"/>
                <a:gd name="T19" fmla="*/ 725 h 1290"/>
                <a:gd name="T20" fmla="*/ 218 w 816"/>
                <a:gd name="T21" fmla="*/ 663 h 1290"/>
                <a:gd name="T22" fmla="*/ 267 w 816"/>
                <a:gd name="T23" fmla="*/ 601 h 1290"/>
                <a:gd name="T24" fmla="*/ 363 w 816"/>
                <a:gd name="T25" fmla="*/ 609 h 1290"/>
                <a:gd name="T26" fmla="*/ 726 w 816"/>
                <a:gd name="T27" fmla="*/ 299 h 1290"/>
                <a:gd name="T28" fmla="*/ 683 w 816"/>
                <a:gd name="T29" fmla="*/ 148 h 1290"/>
                <a:gd name="T30" fmla="*/ 805 w 816"/>
                <a:gd name="T31" fmla="*/ 147 h 1290"/>
                <a:gd name="T32" fmla="*/ 805 w 816"/>
                <a:gd name="T33" fmla="*/ 1 h 1290"/>
                <a:gd name="T34" fmla="*/ 754 w 816"/>
                <a:gd name="T35" fmla="*/ 0 h 1290"/>
                <a:gd name="T36" fmla="*/ 748 w 816"/>
                <a:gd name="T37" fmla="*/ 0 h 1290"/>
                <a:gd name="T38" fmla="*/ 736 w 816"/>
                <a:gd name="T39" fmla="*/ 0 h 1290"/>
                <a:gd name="T40" fmla="*/ 648 w 816"/>
                <a:gd name="T41" fmla="*/ 6 h 1290"/>
                <a:gd name="T42" fmla="*/ 568 w 816"/>
                <a:gd name="T43" fmla="*/ 39 h 1290"/>
                <a:gd name="T44" fmla="*/ 519 w 816"/>
                <a:gd name="T45" fmla="*/ 20 h 1290"/>
                <a:gd name="T46" fmla="*/ 375 w 816"/>
                <a:gd name="T47" fmla="*/ 0 h 1290"/>
                <a:gd name="T48" fmla="*/ 0 w 816"/>
                <a:gd name="T49" fmla="*/ 326 h 1290"/>
                <a:gd name="T50" fmla="*/ 125 w 816"/>
                <a:gd name="T51" fmla="*/ 562 h 1290"/>
                <a:gd name="T52" fmla="*/ 24 w 816"/>
                <a:gd name="T53" fmla="*/ 707 h 1290"/>
                <a:gd name="T54" fmla="*/ 115 w 816"/>
                <a:gd name="T55" fmla="*/ 860 h 1290"/>
                <a:gd name="T56" fmla="*/ 315 w 816"/>
                <a:gd name="T57" fmla="*/ 874 h 1290"/>
                <a:gd name="T58" fmla="*/ 459 w 816"/>
                <a:gd name="T59" fmla="*/ 856 h 1290"/>
                <a:gd name="T60" fmla="*/ 633 w 816"/>
                <a:gd name="T61" fmla="*/ 976 h 1290"/>
                <a:gd name="T62" fmla="*/ 381 w 816"/>
                <a:gd name="T63" fmla="*/ 1152 h 1290"/>
                <a:gd name="T64" fmla="*/ 150 w 816"/>
                <a:gd name="T65" fmla="*/ 1021 h 1290"/>
                <a:gd name="T66" fmla="*/ 149 w 816"/>
                <a:gd name="T67" fmla="*/ 999 h 1290"/>
                <a:gd name="T68" fmla="*/ 13 w 816"/>
                <a:gd name="T69" fmla="*/ 999 h 1290"/>
                <a:gd name="T70" fmla="*/ 15 w 816"/>
                <a:gd name="T71" fmla="*/ 1048 h 1290"/>
                <a:gd name="T72" fmla="*/ 369 w 816"/>
                <a:gd name="T73" fmla="*/ 1283 h 1290"/>
                <a:gd name="T74" fmla="*/ 811 w 816"/>
                <a:gd name="T75" fmla="*/ 947 h 1290"/>
                <a:gd name="T76" fmla="*/ 501 w 816"/>
                <a:gd name="T77" fmla="*/ 714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6" h="1290">
                  <a:moveTo>
                    <a:pt x="367" y="133"/>
                  </a:moveTo>
                  <a:lnTo>
                    <a:pt x="367" y="133"/>
                  </a:lnTo>
                  <a:cubicBezTo>
                    <a:pt x="483" y="133"/>
                    <a:pt x="552" y="175"/>
                    <a:pt x="552" y="310"/>
                  </a:cubicBezTo>
                  <a:cubicBezTo>
                    <a:pt x="552" y="437"/>
                    <a:pt x="478" y="483"/>
                    <a:pt x="365" y="483"/>
                  </a:cubicBezTo>
                  <a:cubicBezTo>
                    <a:pt x="227" y="483"/>
                    <a:pt x="176" y="437"/>
                    <a:pt x="176" y="309"/>
                  </a:cubicBezTo>
                  <a:cubicBezTo>
                    <a:pt x="176" y="193"/>
                    <a:pt x="231" y="133"/>
                    <a:pt x="367" y="133"/>
                  </a:cubicBezTo>
                  <a:lnTo>
                    <a:pt x="367" y="133"/>
                  </a:lnTo>
                  <a:close/>
                  <a:moveTo>
                    <a:pt x="501" y="714"/>
                  </a:moveTo>
                  <a:lnTo>
                    <a:pt x="501" y="714"/>
                  </a:lnTo>
                  <a:lnTo>
                    <a:pt x="358" y="725"/>
                  </a:lnTo>
                  <a:cubicBezTo>
                    <a:pt x="252" y="741"/>
                    <a:pt x="216" y="730"/>
                    <a:pt x="218" y="663"/>
                  </a:cubicBezTo>
                  <a:cubicBezTo>
                    <a:pt x="219" y="639"/>
                    <a:pt x="233" y="614"/>
                    <a:pt x="267" y="601"/>
                  </a:cubicBezTo>
                  <a:cubicBezTo>
                    <a:pt x="292" y="606"/>
                    <a:pt x="331" y="609"/>
                    <a:pt x="363" y="609"/>
                  </a:cubicBezTo>
                  <a:cubicBezTo>
                    <a:pt x="599" y="609"/>
                    <a:pt x="726" y="481"/>
                    <a:pt x="726" y="299"/>
                  </a:cubicBezTo>
                  <a:cubicBezTo>
                    <a:pt x="726" y="250"/>
                    <a:pt x="711" y="196"/>
                    <a:pt x="683" y="148"/>
                  </a:cubicBezTo>
                  <a:cubicBezTo>
                    <a:pt x="712" y="143"/>
                    <a:pt x="755" y="141"/>
                    <a:pt x="805" y="147"/>
                  </a:cubicBezTo>
                  <a:lnTo>
                    <a:pt x="805" y="1"/>
                  </a:lnTo>
                  <a:cubicBezTo>
                    <a:pt x="789" y="0"/>
                    <a:pt x="772" y="0"/>
                    <a:pt x="754" y="0"/>
                  </a:cubicBezTo>
                  <a:lnTo>
                    <a:pt x="748" y="0"/>
                  </a:lnTo>
                  <a:lnTo>
                    <a:pt x="736" y="0"/>
                  </a:lnTo>
                  <a:cubicBezTo>
                    <a:pt x="706" y="0"/>
                    <a:pt x="677" y="2"/>
                    <a:pt x="648" y="6"/>
                  </a:cubicBezTo>
                  <a:cubicBezTo>
                    <a:pt x="610" y="11"/>
                    <a:pt x="588" y="21"/>
                    <a:pt x="568" y="39"/>
                  </a:cubicBezTo>
                  <a:cubicBezTo>
                    <a:pt x="557" y="33"/>
                    <a:pt x="531" y="23"/>
                    <a:pt x="519" y="20"/>
                  </a:cubicBezTo>
                  <a:cubicBezTo>
                    <a:pt x="491" y="15"/>
                    <a:pt x="426" y="0"/>
                    <a:pt x="375" y="0"/>
                  </a:cubicBezTo>
                  <a:cubicBezTo>
                    <a:pt x="135" y="0"/>
                    <a:pt x="0" y="148"/>
                    <a:pt x="0" y="326"/>
                  </a:cubicBezTo>
                  <a:cubicBezTo>
                    <a:pt x="0" y="430"/>
                    <a:pt x="43" y="516"/>
                    <a:pt x="125" y="562"/>
                  </a:cubicBezTo>
                  <a:cubicBezTo>
                    <a:pt x="66" y="587"/>
                    <a:pt x="24" y="646"/>
                    <a:pt x="24" y="707"/>
                  </a:cubicBezTo>
                  <a:cubicBezTo>
                    <a:pt x="24" y="778"/>
                    <a:pt x="63" y="836"/>
                    <a:pt x="115" y="860"/>
                  </a:cubicBezTo>
                  <a:cubicBezTo>
                    <a:pt x="192" y="895"/>
                    <a:pt x="315" y="874"/>
                    <a:pt x="315" y="874"/>
                  </a:cubicBezTo>
                  <a:lnTo>
                    <a:pt x="459" y="856"/>
                  </a:lnTo>
                  <a:cubicBezTo>
                    <a:pt x="554" y="844"/>
                    <a:pt x="631" y="904"/>
                    <a:pt x="633" y="976"/>
                  </a:cubicBezTo>
                  <a:cubicBezTo>
                    <a:pt x="636" y="1067"/>
                    <a:pt x="538" y="1152"/>
                    <a:pt x="381" y="1152"/>
                  </a:cubicBezTo>
                  <a:cubicBezTo>
                    <a:pt x="176" y="1152"/>
                    <a:pt x="152" y="1110"/>
                    <a:pt x="150" y="1021"/>
                  </a:cubicBezTo>
                  <a:cubicBezTo>
                    <a:pt x="149" y="1016"/>
                    <a:pt x="149" y="1004"/>
                    <a:pt x="149" y="999"/>
                  </a:cubicBezTo>
                  <a:lnTo>
                    <a:pt x="13" y="999"/>
                  </a:lnTo>
                  <a:cubicBezTo>
                    <a:pt x="13" y="999"/>
                    <a:pt x="14" y="1031"/>
                    <a:pt x="15" y="1048"/>
                  </a:cubicBezTo>
                  <a:cubicBezTo>
                    <a:pt x="20" y="1210"/>
                    <a:pt x="149" y="1290"/>
                    <a:pt x="369" y="1283"/>
                  </a:cubicBezTo>
                  <a:cubicBezTo>
                    <a:pt x="638" y="1275"/>
                    <a:pt x="816" y="1126"/>
                    <a:pt x="811" y="947"/>
                  </a:cubicBezTo>
                  <a:cubicBezTo>
                    <a:pt x="806" y="790"/>
                    <a:pt x="684" y="708"/>
                    <a:pt x="501" y="71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5" name="Freeform 11">
              <a:extLst>
                <a:ext uri="{FF2B5EF4-FFF2-40B4-BE49-F238E27FC236}">
                  <a16:creationId xmlns:a16="http://schemas.microsoft.com/office/drawing/2014/main" id="{FCAF1BF0-8700-A105-E4C5-7E3BFD6AEB4C}"/>
                </a:ext>
              </a:extLst>
            </p:cNvPr>
            <p:cNvSpPr>
              <a:spLocks/>
            </p:cNvSpPr>
            <p:nvPr userDrawn="1"/>
          </p:nvSpPr>
          <p:spPr bwMode="auto">
            <a:xfrm>
              <a:off x="-2754313" y="8128001"/>
              <a:ext cx="69850" cy="142875"/>
            </a:xfrm>
            <a:custGeom>
              <a:avLst/>
              <a:gdLst>
                <a:gd name="T0" fmla="*/ 355 w 426"/>
                <a:gd name="T1" fmla="*/ 1 h 870"/>
                <a:gd name="T2" fmla="*/ 355 w 426"/>
                <a:gd name="T3" fmla="*/ 1 h 870"/>
                <a:gd name="T4" fmla="*/ 263 w 426"/>
                <a:gd name="T5" fmla="*/ 7 h 870"/>
                <a:gd name="T6" fmla="*/ 125 w 426"/>
                <a:gd name="T7" fmla="*/ 54 h 870"/>
                <a:gd name="T8" fmla="*/ 21 w 426"/>
                <a:gd name="T9" fmla="*/ 182 h 870"/>
                <a:gd name="T10" fmla="*/ 0 w 426"/>
                <a:gd name="T11" fmla="*/ 306 h 870"/>
                <a:gd name="T12" fmla="*/ 0 w 426"/>
                <a:gd name="T13" fmla="*/ 870 h 870"/>
                <a:gd name="T14" fmla="*/ 160 w 426"/>
                <a:gd name="T15" fmla="*/ 870 h 870"/>
                <a:gd name="T16" fmla="*/ 160 w 426"/>
                <a:gd name="T17" fmla="*/ 314 h 870"/>
                <a:gd name="T18" fmla="*/ 354 w 426"/>
                <a:gd name="T19" fmla="*/ 151 h 870"/>
                <a:gd name="T20" fmla="*/ 426 w 426"/>
                <a:gd name="T21" fmla="*/ 153 h 870"/>
                <a:gd name="T22" fmla="*/ 426 w 426"/>
                <a:gd name="T23" fmla="*/ 2 h 870"/>
                <a:gd name="T24" fmla="*/ 355 w 426"/>
                <a:gd name="T25" fmla="*/ 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870">
                  <a:moveTo>
                    <a:pt x="355" y="1"/>
                  </a:moveTo>
                  <a:lnTo>
                    <a:pt x="355" y="1"/>
                  </a:lnTo>
                  <a:cubicBezTo>
                    <a:pt x="323" y="1"/>
                    <a:pt x="293" y="3"/>
                    <a:pt x="263" y="7"/>
                  </a:cubicBezTo>
                  <a:cubicBezTo>
                    <a:pt x="203" y="15"/>
                    <a:pt x="158" y="31"/>
                    <a:pt x="125" y="54"/>
                  </a:cubicBezTo>
                  <a:cubicBezTo>
                    <a:pt x="76" y="85"/>
                    <a:pt x="40" y="128"/>
                    <a:pt x="21" y="182"/>
                  </a:cubicBezTo>
                  <a:cubicBezTo>
                    <a:pt x="7" y="218"/>
                    <a:pt x="0" y="260"/>
                    <a:pt x="0" y="306"/>
                  </a:cubicBezTo>
                  <a:lnTo>
                    <a:pt x="0" y="870"/>
                  </a:lnTo>
                  <a:lnTo>
                    <a:pt x="160" y="870"/>
                  </a:lnTo>
                  <a:lnTo>
                    <a:pt x="160" y="314"/>
                  </a:lnTo>
                  <a:cubicBezTo>
                    <a:pt x="160" y="196"/>
                    <a:pt x="215" y="151"/>
                    <a:pt x="354" y="151"/>
                  </a:cubicBezTo>
                  <a:cubicBezTo>
                    <a:pt x="354" y="151"/>
                    <a:pt x="393" y="149"/>
                    <a:pt x="426" y="153"/>
                  </a:cubicBezTo>
                  <a:lnTo>
                    <a:pt x="426" y="2"/>
                  </a:lnTo>
                  <a:cubicBezTo>
                    <a:pt x="401" y="0"/>
                    <a:pt x="355" y="1"/>
                    <a:pt x="355" y="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6" name="Freeform 12">
              <a:extLst>
                <a:ext uri="{FF2B5EF4-FFF2-40B4-BE49-F238E27FC236}">
                  <a16:creationId xmlns:a16="http://schemas.microsoft.com/office/drawing/2014/main" id="{4A1FFB29-ED07-6514-AEE9-9D98C4877F2F}"/>
                </a:ext>
              </a:extLst>
            </p:cNvPr>
            <p:cNvSpPr>
              <a:spLocks noEditPoints="1"/>
            </p:cNvSpPr>
            <p:nvPr userDrawn="1"/>
          </p:nvSpPr>
          <p:spPr bwMode="auto">
            <a:xfrm>
              <a:off x="-2895600" y="8086726"/>
              <a:ext cx="112713" cy="185738"/>
            </a:xfrm>
            <a:custGeom>
              <a:avLst/>
              <a:gdLst>
                <a:gd name="T0" fmla="*/ 499 w 686"/>
                <a:gd name="T1" fmla="*/ 440 h 1129"/>
                <a:gd name="T2" fmla="*/ 499 w 686"/>
                <a:gd name="T3" fmla="*/ 440 h 1129"/>
                <a:gd name="T4" fmla="*/ 514 w 686"/>
                <a:gd name="T5" fmla="*/ 462 h 1129"/>
                <a:gd name="T6" fmla="*/ 532 w 686"/>
                <a:gd name="T7" fmla="*/ 551 h 1129"/>
                <a:gd name="T8" fmla="*/ 532 w 686"/>
                <a:gd name="T9" fmla="*/ 826 h 1129"/>
                <a:gd name="T10" fmla="*/ 343 w 686"/>
                <a:gd name="T11" fmla="*/ 984 h 1129"/>
                <a:gd name="T12" fmla="*/ 155 w 686"/>
                <a:gd name="T13" fmla="*/ 826 h 1129"/>
                <a:gd name="T14" fmla="*/ 155 w 686"/>
                <a:gd name="T15" fmla="*/ 551 h 1129"/>
                <a:gd name="T16" fmla="*/ 186 w 686"/>
                <a:gd name="T17" fmla="*/ 440 h 1129"/>
                <a:gd name="T18" fmla="*/ 499 w 686"/>
                <a:gd name="T19" fmla="*/ 440 h 1129"/>
                <a:gd name="T20" fmla="*/ 499 w 686"/>
                <a:gd name="T21" fmla="*/ 440 h 1129"/>
                <a:gd name="T22" fmla="*/ 514 w 686"/>
                <a:gd name="T23" fmla="*/ 0 h 1129"/>
                <a:gd name="T24" fmla="*/ 514 w 686"/>
                <a:gd name="T25" fmla="*/ 0 h 1129"/>
                <a:gd name="T26" fmla="*/ 514 w 686"/>
                <a:gd name="T27" fmla="*/ 274 h 1129"/>
                <a:gd name="T28" fmla="*/ 342 w 686"/>
                <a:gd name="T29" fmla="*/ 248 h 1129"/>
                <a:gd name="T30" fmla="*/ 0 w 686"/>
                <a:gd name="T31" fmla="*/ 543 h 1129"/>
                <a:gd name="T32" fmla="*/ 0 w 686"/>
                <a:gd name="T33" fmla="*/ 855 h 1129"/>
                <a:gd name="T34" fmla="*/ 74 w 686"/>
                <a:gd name="T35" fmla="*/ 1040 h 1129"/>
                <a:gd name="T36" fmla="*/ 353 w 686"/>
                <a:gd name="T37" fmla="*/ 1129 h 1129"/>
                <a:gd name="T38" fmla="*/ 686 w 686"/>
                <a:gd name="T39" fmla="*/ 835 h 1129"/>
                <a:gd name="T40" fmla="*/ 686 w 686"/>
                <a:gd name="T41" fmla="*/ 0 h 1129"/>
                <a:gd name="T42" fmla="*/ 514 w 686"/>
                <a:gd name="T4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1129">
                  <a:moveTo>
                    <a:pt x="499" y="440"/>
                  </a:moveTo>
                  <a:lnTo>
                    <a:pt x="499" y="440"/>
                  </a:lnTo>
                  <a:cubicBezTo>
                    <a:pt x="505" y="447"/>
                    <a:pt x="510" y="454"/>
                    <a:pt x="514" y="462"/>
                  </a:cubicBezTo>
                  <a:cubicBezTo>
                    <a:pt x="526" y="485"/>
                    <a:pt x="532" y="514"/>
                    <a:pt x="532" y="551"/>
                  </a:cubicBezTo>
                  <a:lnTo>
                    <a:pt x="532" y="826"/>
                  </a:lnTo>
                  <a:cubicBezTo>
                    <a:pt x="532" y="939"/>
                    <a:pt x="480" y="984"/>
                    <a:pt x="343" y="984"/>
                  </a:cubicBezTo>
                  <a:cubicBezTo>
                    <a:pt x="206" y="984"/>
                    <a:pt x="159" y="937"/>
                    <a:pt x="155" y="826"/>
                  </a:cubicBezTo>
                  <a:cubicBezTo>
                    <a:pt x="150" y="704"/>
                    <a:pt x="152" y="605"/>
                    <a:pt x="155" y="551"/>
                  </a:cubicBezTo>
                  <a:cubicBezTo>
                    <a:pt x="157" y="502"/>
                    <a:pt x="164" y="466"/>
                    <a:pt x="186" y="440"/>
                  </a:cubicBezTo>
                  <a:cubicBezTo>
                    <a:pt x="236" y="381"/>
                    <a:pt x="430" y="371"/>
                    <a:pt x="499" y="440"/>
                  </a:cubicBezTo>
                  <a:lnTo>
                    <a:pt x="499" y="440"/>
                  </a:lnTo>
                  <a:close/>
                  <a:moveTo>
                    <a:pt x="514" y="0"/>
                  </a:moveTo>
                  <a:lnTo>
                    <a:pt x="514" y="0"/>
                  </a:lnTo>
                  <a:lnTo>
                    <a:pt x="514" y="274"/>
                  </a:lnTo>
                  <a:cubicBezTo>
                    <a:pt x="463" y="254"/>
                    <a:pt x="406" y="248"/>
                    <a:pt x="342" y="248"/>
                  </a:cubicBezTo>
                  <a:cubicBezTo>
                    <a:pt x="214" y="248"/>
                    <a:pt x="0" y="286"/>
                    <a:pt x="0" y="543"/>
                  </a:cubicBezTo>
                  <a:cubicBezTo>
                    <a:pt x="0" y="543"/>
                    <a:pt x="0" y="852"/>
                    <a:pt x="0" y="855"/>
                  </a:cubicBezTo>
                  <a:cubicBezTo>
                    <a:pt x="0" y="926"/>
                    <a:pt x="31" y="997"/>
                    <a:pt x="74" y="1040"/>
                  </a:cubicBezTo>
                  <a:cubicBezTo>
                    <a:pt x="122" y="1088"/>
                    <a:pt x="192" y="1129"/>
                    <a:pt x="353" y="1129"/>
                  </a:cubicBezTo>
                  <a:cubicBezTo>
                    <a:pt x="515" y="1129"/>
                    <a:pt x="686" y="1060"/>
                    <a:pt x="686" y="835"/>
                  </a:cubicBezTo>
                  <a:cubicBezTo>
                    <a:pt x="686" y="829"/>
                    <a:pt x="686" y="0"/>
                    <a:pt x="686" y="0"/>
                  </a:cubicBezTo>
                  <a:lnTo>
                    <a:pt x="5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7" name="Freeform 13">
              <a:extLst>
                <a:ext uri="{FF2B5EF4-FFF2-40B4-BE49-F238E27FC236}">
                  <a16:creationId xmlns:a16="http://schemas.microsoft.com/office/drawing/2014/main" id="{755CDF40-9EBD-4A5E-5125-588E0E5EEBE2}"/>
                </a:ext>
              </a:extLst>
            </p:cNvPr>
            <p:cNvSpPr>
              <a:spLocks noEditPoints="1"/>
            </p:cNvSpPr>
            <p:nvPr userDrawn="1"/>
          </p:nvSpPr>
          <p:spPr bwMode="auto">
            <a:xfrm>
              <a:off x="-3222625" y="8086726"/>
              <a:ext cx="234950" cy="184150"/>
            </a:xfrm>
            <a:custGeom>
              <a:avLst/>
              <a:gdLst>
                <a:gd name="T0" fmla="*/ 512 w 1431"/>
                <a:gd name="T1" fmla="*/ 483 h 1118"/>
                <a:gd name="T2" fmla="*/ 512 w 1431"/>
                <a:gd name="T3" fmla="*/ 483 h 1118"/>
                <a:gd name="T4" fmla="*/ 594 w 1431"/>
                <a:gd name="T5" fmla="*/ 321 h 1118"/>
                <a:gd name="T6" fmla="*/ 796 w 1431"/>
                <a:gd name="T7" fmla="*/ 152 h 1118"/>
                <a:gd name="T8" fmla="*/ 842 w 1431"/>
                <a:gd name="T9" fmla="*/ 152 h 1118"/>
                <a:gd name="T10" fmla="*/ 842 w 1431"/>
                <a:gd name="T11" fmla="*/ 483 h 1118"/>
                <a:gd name="T12" fmla="*/ 512 w 1431"/>
                <a:gd name="T13" fmla="*/ 483 h 1118"/>
                <a:gd name="T14" fmla="*/ 512 w 1431"/>
                <a:gd name="T15" fmla="*/ 483 h 1118"/>
                <a:gd name="T16" fmla="*/ 1189 w 1431"/>
                <a:gd name="T17" fmla="*/ 964 h 1118"/>
                <a:gd name="T18" fmla="*/ 1189 w 1431"/>
                <a:gd name="T19" fmla="*/ 964 h 1118"/>
                <a:gd name="T20" fmla="*/ 1017 w 1431"/>
                <a:gd name="T21" fmla="*/ 829 h 1118"/>
                <a:gd name="T22" fmla="*/ 1017 w 1431"/>
                <a:gd name="T23" fmla="*/ 631 h 1118"/>
                <a:gd name="T24" fmla="*/ 1403 w 1431"/>
                <a:gd name="T25" fmla="*/ 631 h 1118"/>
                <a:gd name="T26" fmla="*/ 1403 w 1431"/>
                <a:gd name="T27" fmla="*/ 483 h 1118"/>
                <a:gd name="T28" fmla="*/ 1017 w 1431"/>
                <a:gd name="T29" fmla="*/ 483 h 1118"/>
                <a:gd name="T30" fmla="*/ 1017 w 1431"/>
                <a:gd name="T31" fmla="*/ 151 h 1118"/>
                <a:gd name="T32" fmla="*/ 1403 w 1431"/>
                <a:gd name="T33" fmla="*/ 151 h 1118"/>
                <a:gd name="T34" fmla="*/ 1403 w 1431"/>
                <a:gd name="T35" fmla="*/ 0 h 1118"/>
                <a:gd name="T36" fmla="*/ 803 w 1431"/>
                <a:gd name="T37" fmla="*/ 0 h 1118"/>
                <a:gd name="T38" fmla="*/ 443 w 1431"/>
                <a:gd name="T39" fmla="*/ 263 h 1118"/>
                <a:gd name="T40" fmla="*/ 0 w 1431"/>
                <a:gd name="T41" fmla="*/ 1118 h 1118"/>
                <a:gd name="T42" fmla="*/ 192 w 1431"/>
                <a:gd name="T43" fmla="*/ 1118 h 1118"/>
                <a:gd name="T44" fmla="*/ 440 w 1431"/>
                <a:gd name="T45" fmla="*/ 625 h 1118"/>
                <a:gd name="T46" fmla="*/ 842 w 1431"/>
                <a:gd name="T47" fmla="*/ 625 h 1118"/>
                <a:gd name="T48" fmla="*/ 842 w 1431"/>
                <a:gd name="T49" fmla="*/ 856 h 1118"/>
                <a:gd name="T50" fmla="*/ 909 w 1431"/>
                <a:gd name="T51" fmla="*/ 1035 h 1118"/>
                <a:gd name="T52" fmla="*/ 1107 w 1431"/>
                <a:gd name="T53" fmla="*/ 1118 h 1118"/>
                <a:gd name="T54" fmla="*/ 1431 w 1431"/>
                <a:gd name="T55" fmla="*/ 1118 h 1118"/>
                <a:gd name="T56" fmla="*/ 1431 w 1431"/>
                <a:gd name="T57" fmla="*/ 964 h 1118"/>
                <a:gd name="T58" fmla="*/ 1189 w 1431"/>
                <a:gd name="T59" fmla="*/ 964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1" h="1118">
                  <a:moveTo>
                    <a:pt x="512" y="483"/>
                  </a:moveTo>
                  <a:lnTo>
                    <a:pt x="512" y="483"/>
                  </a:lnTo>
                  <a:lnTo>
                    <a:pt x="594" y="321"/>
                  </a:lnTo>
                  <a:cubicBezTo>
                    <a:pt x="654" y="201"/>
                    <a:pt x="722" y="152"/>
                    <a:pt x="796" y="152"/>
                  </a:cubicBezTo>
                  <a:lnTo>
                    <a:pt x="842" y="152"/>
                  </a:lnTo>
                  <a:lnTo>
                    <a:pt x="842" y="483"/>
                  </a:lnTo>
                  <a:lnTo>
                    <a:pt x="512" y="483"/>
                  </a:lnTo>
                  <a:lnTo>
                    <a:pt x="512" y="483"/>
                  </a:lnTo>
                  <a:close/>
                  <a:moveTo>
                    <a:pt x="1189" y="964"/>
                  </a:moveTo>
                  <a:lnTo>
                    <a:pt x="1189" y="964"/>
                  </a:lnTo>
                  <a:cubicBezTo>
                    <a:pt x="1065" y="960"/>
                    <a:pt x="1022" y="922"/>
                    <a:pt x="1017" y="829"/>
                  </a:cubicBezTo>
                  <a:lnTo>
                    <a:pt x="1017" y="631"/>
                  </a:lnTo>
                  <a:lnTo>
                    <a:pt x="1403" y="631"/>
                  </a:lnTo>
                  <a:lnTo>
                    <a:pt x="1403" y="483"/>
                  </a:lnTo>
                  <a:lnTo>
                    <a:pt x="1017" y="483"/>
                  </a:lnTo>
                  <a:lnTo>
                    <a:pt x="1017" y="151"/>
                  </a:lnTo>
                  <a:lnTo>
                    <a:pt x="1403" y="151"/>
                  </a:lnTo>
                  <a:lnTo>
                    <a:pt x="1403" y="0"/>
                  </a:lnTo>
                  <a:lnTo>
                    <a:pt x="803" y="0"/>
                  </a:lnTo>
                  <a:cubicBezTo>
                    <a:pt x="628" y="3"/>
                    <a:pt x="544" y="68"/>
                    <a:pt x="443" y="263"/>
                  </a:cubicBezTo>
                  <a:lnTo>
                    <a:pt x="0" y="1118"/>
                  </a:lnTo>
                  <a:lnTo>
                    <a:pt x="192" y="1118"/>
                  </a:lnTo>
                  <a:lnTo>
                    <a:pt x="440" y="625"/>
                  </a:lnTo>
                  <a:lnTo>
                    <a:pt x="842" y="625"/>
                  </a:lnTo>
                  <a:lnTo>
                    <a:pt x="842" y="856"/>
                  </a:lnTo>
                  <a:cubicBezTo>
                    <a:pt x="842" y="927"/>
                    <a:pt x="866" y="992"/>
                    <a:pt x="909" y="1035"/>
                  </a:cubicBezTo>
                  <a:cubicBezTo>
                    <a:pt x="957" y="1084"/>
                    <a:pt x="1036" y="1118"/>
                    <a:pt x="1107" y="1118"/>
                  </a:cubicBezTo>
                  <a:lnTo>
                    <a:pt x="1431" y="1118"/>
                  </a:lnTo>
                  <a:lnTo>
                    <a:pt x="1431" y="964"/>
                  </a:lnTo>
                  <a:lnTo>
                    <a:pt x="1189" y="96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sp>
          <p:nvSpPr>
            <p:cNvPr id="19" name="Kombinationstegning: figur 18">
              <a:extLst>
                <a:ext uri="{FF2B5EF4-FFF2-40B4-BE49-F238E27FC236}">
                  <a16:creationId xmlns:a16="http://schemas.microsoft.com/office/drawing/2014/main" id="{F6049C8D-A51E-6ACD-6B27-87584E330D29}"/>
                </a:ext>
              </a:extLst>
            </p:cNvPr>
            <p:cNvSpPr>
              <a:spLocks/>
            </p:cNvSpPr>
            <p:nvPr userDrawn="1"/>
          </p:nvSpPr>
          <p:spPr bwMode="auto">
            <a:xfrm>
              <a:off x="-2516188" y="8053388"/>
              <a:ext cx="252413" cy="252413"/>
            </a:xfrm>
            <a:custGeom>
              <a:avLst/>
              <a:gdLst>
                <a:gd name="connsiteX0" fmla="*/ 129802 w 252413"/>
                <a:gd name="connsiteY0" fmla="*/ 32470 h 252413"/>
                <a:gd name="connsiteX1" fmla="*/ 127677 w 252413"/>
                <a:gd name="connsiteY1" fmla="*/ 32800 h 252413"/>
                <a:gd name="connsiteX2" fmla="*/ 125390 w 252413"/>
                <a:gd name="connsiteY2" fmla="*/ 32965 h 252413"/>
                <a:gd name="connsiteX3" fmla="*/ 124409 w 252413"/>
                <a:gd name="connsiteY3" fmla="*/ 33130 h 252413"/>
                <a:gd name="connsiteX4" fmla="*/ 121467 w 252413"/>
                <a:gd name="connsiteY4" fmla="*/ 33624 h 252413"/>
                <a:gd name="connsiteX5" fmla="*/ 117055 w 252413"/>
                <a:gd name="connsiteY5" fmla="*/ 34777 h 252413"/>
                <a:gd name="connsiteX6" fmla="*/ 115421 w 252413"/>
                <a:gd name="connsiteY6" fmla="*/ 35272 h 252413"/>
                <a:gd name="connsiteX7" fmla="*/ 114440 w 252413"/>
                <a:gd name="connsiteY7" fmla="*/ 36590 h 252413"/>
                <a:gd name="connsiteX8" fmla="*/ 116075 w 252413"/>
                <a:gd name="connsiteY8" fmla="*/ 38238 h 252413"/>
                <a:gd name="connsiteX9" fmla="*/ 117382 w 252413"/>
                <a:gd name="connsiteY9" fmla="*/ 38403 h 252413"/>
                <a:gd name="connsiteX10" fmla="*/ 125390 w 252413"/>
                <a:gd name="connsiteY10" fmla="*/ 40051 h 252413"/>
                <a:gd name="connsiteX11" fmla="*/ 127677 w 252413"/>
                <a:gd name="connsiteY11" fmla="*/ 40545 h 252413"/>
                <a:gd name="connsiteX12" fmla="*/ 154315 w 252413"/>
                <a:gd name="connsiteY12" fmla="*/ 52081 h 252413"/>
                <a:gd name="connsiteX13" fmla="*/ 180625 w 252413"/>
                <a:gd name="connsiteY13" fmla="*/ 122447 h 252413"/>
                <a:gd name="connsiteX14" fmla="*/ 148268 w 252413"/>
                <a:gd name="connsiteY14" fmla="*/ 154087 h 252413"/>
                <a:gd name="connsiteX15" fmla="*/ 120814 w 252413"/>
                <a:gd name="connsiteY15" fmla="*/ 134147 h 252413"/>
                <a:gd name="connsiteX16" fmla="*/ 121141 w 252413"/>
                <a:gd name="connsiteY16" fmla="*/ 133323 h 252413"/>
                <a:gd name="connsiteX17" fmla="*/ 121304 w 252413"/>
                <a:gd name="connsiteY17" fmla="*/ 133158 h 252413"/>
                <a:gd name="connsiteX18" fmla="*/ 121467 w 252413"/>
                <a:gd name="connsiteY18" fmla="*/ 132994 h 252413"/>
                <a:gd name="connsiteX19" fmla="*/ 122121 w 252413"/>
                <a:gd name="connsiteY19" fmla="*/ 133488 h 252413"/>
                <a:gd name="connsiteX20" fmla="*/ 123102 w 252413"/>
                <a:gd name="connsiteY20" fmla="*/ 136784 h 252413"/>
                <a:gd name="connsiteX21" fmla="*/ 136992 w 252413"/>
                <a:gd name="connsiteY21" fmla="*/ 144364 h 252413"/>
                <a:gd name="connsiteX22" fmla="*/ 139280 w 252413"/>
                <a:gd name="connsiteY22" fmla="*/ 144035 h 252413"/>
                <a:gd name="connsiteX23" fmla="*/ 152517 w 252413"/>
                <a:gd name="connsiteY23" fmla="*/ 71691 h 252413"/>
                <a:gd name="connsiteX24" fmla="*/ 37306 w 252413"/>
                <a:gd name="connsiteY24" fmla="*/ 107945 h 252413"/>
                <a:gd name="connsiteX25" fmla="*/ 42863 w 252413"/>
                <a:gd name="connsiteY25" fmla="*/ 170731 h 252413"/>
                <a:gd name="connsiteX26" fmla="*/ 121631 w 252413"/>
                <a:gd name="connsiteY26" fmla="*/ 218356 h 252413"/>
                <a:gd name="connsiteX27" fmla="*/ 124736 w 252413"/>
                <a:gd name="connsiteY27" fmla="*/ 218191 h 252413"/>
                <a:gd name="connsiteX28" fmla="*/ 127024 w 252413"/>
                <a:gd name="connsiteY28" fmla="*/ 217862 h 252413"/>
                <a:gd name="connsiteX29" fmla="*/ 131109 w 252413"/>
                <a:gd name="connsiteY29" fmla="*/ 217203 h 252413"/>
                <a:gd name="connsiteX30" fmla="*/ 135522 w 252413"/>
                <a:gd name="connsiteY30" fmla="*/ 216049 h 252413"/>
                <a:gd name="connsiteX31" fmla="*/ 136992 w 252413"/>
                <a:gd name="connsiteY31" fmla="*/ 215555 h 252413"/>
                <a:gd name="connsiteX32" fmla="*/ 137973 w 252413"/>
                <a:gd name="connsiteY32" fmla="*/ 214236 h 252413"/>
                <a:gd name="connsiteX33" fmla="*/ 136339 w 252413"/>
                <a:gd name="connsiteY33" fmla="*/ 212753 h 252413"/>
                <a:gd name="connsiteX34" fmla="*/ 135031 w 252413"/>
                <a:gd name="connsiteY34" fmla="*/ 212424 h 252413"/>
                <a:gd name="connsiteX35" fmla="*/ 127187 w 252413"/>
                <a:gd name="connsiteY35" fmla="*/ 210776 h 252413"/>
                <a:gd name="connsiteX36" fmla="*/ 124899 w 252413"/>
                <a:gd name="connsiteY36" fmla="*/ 210281 h 252413"/>
                <a:gd name="connsiteX37" fmla="*/ 98098 w 252413"/>
                <a:gd name="connsiteY37" fmla="*/ 198746 h 252413"/>
                <a:gd name="connsiteX38" fmla="*/ 71788 w 252413"/>
                <a:gd name="connsiteY38" fmla="*/ 128380 h 252413"/>
                <a:gd name="connsiteX39" fmla="*/ 104145 w 252413"/>
                <a:gd name="connsiteY39" fmla="*/ 96739 h 252413"/>
                <a:gd name="connsiteX40" fmla="*/ 131763 w 252413"/>
                <a:gd name="connsiteY40" fmla="*/ 116844 h 252413"/>
                <a:gd name="connsiteX41" fmla="*/ 131109 w 252413"/>
                <a:gd name="connsiteY41" fmla="*/ 117833 h 252413"/>
                <a:gd name="connsiteX42" fmla="*/ 130456 w 252413"/>
                <a:gd name="connsiteY42" fmla="*/ 117338 h 252413"/>
                <a:gd name="connsiteX43" fmla="*/ 129312 w 252413"/>
                <a:gd name="connsiteY43" fmla="*/ 114043 h 252413"/>
                <a:gd name="connsiteX44" fmla="*/ 115584 w 252413"/>
                <a:gd name="connsiteY44" fmla="*/ 106627 h 252413"/>
                <a:gd name="connsiteX45" fmla="*/ 113133 w 252413"/>
                <a:gd name="connsiteY45" fmla="*/ 106792 h 252413"/>
                <a:gd name="connsiteX46" fmla="*/ 99896 w 252413"/>
                <a:gd name="connsiteY46" fmla="*/ 179136 h 252413"/>
                <a:gd name="connsiteX47" fmla="*/ 215270 w 252413"/>
                <a:gd name="connsiteY47" fmla="*/ 142881 h 252413"/>
                <a:gd name="connsiteX48" fmla="*/ 209551 w 252413"/>
                <a:gd name="connsiteY48" fmla="*/ 80095 h 252413"/>
                <a:gd name="connsiteX49" fmla="*/ 130782 w 252413"/>
                <a:gd name="connsiteY49" fmla="*/ 32470 h 252413"/>
                <a:gd name="connsiteX50" fmla="*/ 129802 w 252413"/>
                <a:gd name="connsiteY50" fmla="*/ 32470 h 252413"/>
                <a:gd name="connsiteX51" fmla="*/ 126125 w 252413"/>
                <a:gd name="connsiteY51" fmla="*/ 0 h 252413"/>
                <a:gd name="connsiteX52" fmla="*/ 252413 w 252413"/>
                <a:gd name="connsiteY52" fmla="*/ 126207 h 252413"/>
                <a:gd name="connsiteX53" fmla="*/ 126125 w 252413"/>
                <a:gd name="connsiteY53" fmla="*/ 252413 h 252413"/>
                <a:gd name="connsiteX54" fmla="*/ 0 w 252413"/>
                <a:gd name="connsiteY54" fmla="*/ 126207 h 252413"/>
                <a:gd name="connsiteX55" fmla="*/ 126125 w 252413"/>
                <a:gd name="connsiteY55" fmla="*/ 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2413" h="252413">
                  <a:moveTo>
                    <a:pt x="129802" y="32470"/>
                  </a:moveTo>
                  <a:cubicBezTo>
                    <a:pt x="129148" y="32635"/>
                    <a:pt x="128331" y="32635"/>
                    <a:pt x="127677" y="32800"/>
                  </a:cubicBezTo>
                  <a:cubicBezTo>
                    <a:pt x="126860" y="32800"/>
                    <a:pt x="126207" y="32965"/>
                    <a:pt x="125390" y="32965"/>
                  </a:cubicBezTo>
                  <a:cubicBezTo>
                    <a:pt x="125063" y="33130"/>
                    <a:pt x="124736" y="33130"/>
                    <a:pt x="124409" y="33130"/>
                  </a:cubicBezTo>
                  <a:cubicBezTo>
                    <a:pt x="123428" y="33294"/>
                    <a:pt x="122448" y="33459"/>
                    <a:pt x="121467" y="33624"/>
                  </a:cubicBezTo>
                  <a:cubicBezTo>
                    <a:pt x="121304" y="33789"/>
                    <a:pt x="117382" y="34613"/>
                    <a:pt x="117055" y="34777"/>
                  </a:cubicBezTo>
                  <a:cubicBezTo>
                    <a:pt x="116728" y="34777"/>
                    <a:pt x="115584" y="35107"/>
                    <a:pt x="115421" y="35272"/>
                  </a:cubicBezTo>
                  <a:cubicBezTo>
                    <a:pt x="114931" y="35601"/>
                    <a:pt x="114440" y="36096"/>
                    <a:pt x="114440" y="36590"/>
                  </a:cubicBezTo>
                  <a:cubicBezTo>
                    <a:pt x="114440" y="37414"/>
                    <a:pt x="115094" y="37908"/>
                    <a:pt x="116075" y="38238"/>
                  </a:cubicBezTo>
                  <a:cubicBezTo>
                    <a:pt x="116075" y="38238"/>
                    <a:pt x="117055" y="38403"/>
                    <a:pt x="117382" y="38403"/>
                  </a:cubicBezTo>
                  <a:cubicBezTo>
                    <a:pt x="119180" y="38897"/>
                    <a:pt x="122775" y="39556"/>
                    <a:pt x="125390" y="40051"/>
                  </a:cubicBezTo>
                  <a:cubicBezTo>
                    <a:pt x="126207" y="40216"/>
                    <a:pt x="127024" y="40545"/>
                    <a:pt x="127677" y="40545"/>
                  </a:cubicBezTo>
                  <a:cubicBezTo>
                    <a:pt x="137156" y="42687"/>
                    <a:pt x="146307" y="46313"/>
                    <a:pt x="154315" y="52081"/>
                  </a:cubicBezTo>
                  <a:cubicBezTo>
                    <a:pt x="176213" y="67736"/>
                    <a:pt x="189287" y="94762"/>
                    <a:pt x="180625" y="122447"/>
                  </a:cubicBezTo>
                  <a:cubicBezTo>
                    <a:pt x="174579" y="142057"/>
                    <a:pt x="161015" y="151780"/>
                    <a:pt x="148268" y="154087"/>
                  </a:cubicBezTo>
                  <a:cubicBezTo>
                    <a:pt x="131926" y="157383"/>
                    <a:pt x="117055" y="148649"/>
                    <a:pt x="120814" y="134147"/>
                  </a:cubicBezTo>
                  <a:cubicBezTo>
                    <a:pt x="120814" y="133818"/>
                    <a:pt x="120977" y="133488"/>
                    <a:pt x="121141" y="133323"/>
                  </a:cubicBezTo>
                  <a:cubicBezTo>
                    <a:pt x="121141" y="133323"/>
                    <a:pt x="121141" y="133158"/>
                    <a:pt x="121304" y="133158"/>
                  </a:cubicBezTo>
                  <a:cubicBezTo>
                    <a:pt x="121304" y="132994"/>
                    <a:pt x="121467" y="132994"/>
                    <a:pt x="121467" y="132994"/>
                  </a:cubicBezTo>
                  <a:cubicBezTo>
                    <a:pt x="121794" y="132994"/>
                    <a:pt x="121958" y="133158"/>
                    <a:pt x="122121" y="133488"/>
                  </a:cubicBezTo>
                  <a:cubicBezTo>
                    <a:pt x="122121" y="133488"/>
                    <a:pt x="122611" y="135466"/>
                    <a:pt x="123102" y="136784"/>
                  </a:cubicBezTo>
                  <a:cubicBezTo>
                    <a:pt x="125880" y="142222"/>
                    <a:pt x="131273" y="144364"/>
                    <a:pt x="136992" y="144364"/>
                  </a:cubicBezTo>
                  <a:cubicBezTo>
                    <a:pt x="137809" y="144200"/>
                    <a:pt x="138463" y="144200"/>
                    <a:pt x="139280" y="144035"/>
                  </a:cubicBezTo>
                  <a:cubicBezTo>
                    <a:pt x="173435" y="139750"/>
                    <a:pt x="175723" y="93114"/>
                    <a:pt x="152517" y="71691"/>
                  </a:cubicBezTo>
                  <a:cubicBezTo>
                    <a:pt x="113460" y="35272"/>
                    <a:pt x="50217" y="56860"/>
                    <a:pt x="37306" y="107945"/>
                  </a:cubicBezTo>
                  <a:cubicBezTo>
                    <a:pt x="31750" y="125908"/>
                    <a:pt x="32567" y="147331"/>
                    <a:pt x="42863" y="170731"/>
                  </a:cubicBezTo>
                  <a:cubicBezTo>
                    <a:pt x="55609" y="199075"/>
                    <a:pt x="88130" y="220663"/>
                    <a:pt x="121631" y="218356"/>
                  </a:cubicBezTo>
                  <a:cubicBezTo>
                    <a:pt x="121958" y="218356"/>
                    <a:pt x="124082" y="218191"/>
                    <a:pt x="124736" y="218191"/>
                  </a:cubicBezTo>
                  <a:cubicBezTo>
                    <a:pt x="125553" y="218027"/>
                    <a:pt x="126370" y="217862"/>
                    <a:pt x="127024" y="217862"/>
                  </a:cubicBezTo>
                  <a:cubicBezTo>
                    <a:pt x="127351" y="217862"/>
                    <a:pt x="129965" y="217367"/>
                    <a:pt x="131109" y="217203"/>
                  </a:cubicBezTo>
                  <a:cubicBezTo>
                    <a:pt x="131109" y="217203"/>
                    <a:pt x="135195" y="216214"/>
                    <a:pt x="135522" y="216049"/>
                  </a:cubicBezTo>
                  <a:cubicBezTo>
                    <a:pt x="135848" y="216049"/>
                    <a:pt x="136829" y="215719"/>
                    <a:pt x="136992" y="215555"/>
                  </a:cubicBezTo>
                  <a:cubicBezTo>
                    <a:pt x="137483" y="215225"/>
                    <a:pt x="137973" y="214896"/>
                    <a:pt x="137973" y="214236"/>
                  </a:cubicBezTo>
                  <a:cubicBezTo>
                    <a:pt x="137973" y="213412"/>
                    <a:pt x="137319" y="212918"/>
                    <a:pt x="136339" y="212753"/>
                  </a:cubicBezTo>
                  <a:cubicBezTo>
                    <a:pt x="136339" y="212753"/>
                    <a:pt x="135522" y="212424"/>
                    <a:pt x="135031" y="212424"/>
                  </a:cubicBezTo>
                  <a:cubicBezTo>
                    <a:pt x="133234" y="212094"/>
                    <a:pt x="129638" y="211270"/>
                    <a:pt x="127187" y="210776"/>
                  </a:cubicBezTo>
                  <a:cubicBezTo>
                    <a:pt x="126207" y="210611"/>
                    <a:pt x="125553" y="210446"/>
                    <a:pt x="124899" y="210281"/>
                  </a:cubicBezTo>
                  <a:cubicBezTo>
                    <a:pt x="115421" y="208139"/>
                    <a:pt x="106269" y="204514"/>
                    <a:pt x="98098" y="198746"/>
                  </a:cubicBezTo>
                  <a:cubicBezTo>
                    <a:pt x="76200" y="183091"/>
                    <a:pt x="63127" y="156065"/>
                    <a:pt x="71788" y="128380"/>
                  </a:cubicBezTo>
                  <a:cubicBezTo>
                    <a:pt x="77998" y="108769"/>
                    <a:pt x="91398" y="99211"/>
                    <a:pt x="104145" y="96739"/>
                  </a:cubicBezTo>
                  <a:cubicBezTo>
                    <a:pt x="120487" y="93608"/>
                    <a:pt x="135522" y="102178"/>
                    <a:pt x="131763" y="116844"/>
                  </a:cubicBezTo>
                  <a:cubicBezTo>
                    <a:pt x="131599" y="117503"/>
                    <a:pt x="131273" y="117833"/>
                    <a:pt x="131109" y="117833"/>
                  </a:cubicBezTo>
                  <a:cubicBezTo>
                    <a:pt x="130782" y="117833"/>
                    <a:pt x="130456" y="117338"/>
                    <a:pt x="130456" y="117338"/>
                  </a:cubicBezTo>
                  <a:cubicBezTo>
                    <a:pt x="130456" y="117338"/>
                    <a:pt x="129965" y="115361"/>
                    <a:pt x="129312" y="114043"/>
                  </a:cubicBezTo>
                  <a:cubicBezTo>
                    <a:pt x="126533" y="108604"/>
                    <a:pt x="121141" y="106462"/>
                    <a:pt x="115584" y="106627"/>
                  </a:cubicBezTo>
                  <a:cubicBezTo>
                    <a:pt x="114767" y="106627"/>
                    <a:pt x="113950" y="106627"/>
                    <a:pt x="113133" y="106792"/>
                  </a:cubicBezTo>
                  <a:cubicBezTo>
                    <a:pt x="78978" y="111076"/>
                    <a:pt x="76854" y="157877"/>
                    <a:pt x="99896" y="179136"/>
                  </a:cubicBezTo>
                  <a:cubicBezTo>
                    <a:pt x="139117" y="215555"/>
                    <a:pt x="202360" y="194132"/>
                    <a:pt x="215270" y="142881"/>
                  </a:cubicBezTo>
                  <a:cubicBezTo>
                    <a:pt x="220663" y="124919"/>
                    <a:pt x="220009" y="103496"/>
                    <a:pt x="209551" y="80095"/>
                  </a:cubicBezTo>
                  <a:cubicBezTo>
                    <a:pt x="196967" y="51916"/>
                    <a:pt x="164447" y="30163"/>
                    <a:pt x="130782" y="32470"/>
                  </a:cubicBezTo>
                  <a:cubicBezTo>
                    <a:pt x="130456" y="32470"/>
                    <a:pt x="130129" y="32470"/>
                    <a:pt x="129802" y="32470"/>
                  </a:cubicBezTo>
                  <a:close/>
                  <a:moveTo>
                    <a:pt x="126125" y="0"/>
                  </a:moveTo>
                  <a:cubicBezTo>
                    <a:pt x="195829" y="0"/>
                    <a:pt x="252413" y="56457"/>
                    <a:pt x="252413" y="126207"/>
                  </a:cubicBezTo>
                  <a:cubicBezTo>
                    <a:pt x="252413" y="195957"/>
                    <a:pt x="195829" y="252413"/>
                    <a:pt x="126125" y="252413"/>
                  </a:cubicBezTo>
                  <a:cubicBezTo>
                    <a:pt x="56420" y="252413"/>
                    <a:pt x="0" y="195957"/>
                    <a:pt x="0" y="126207"/>
                  </a:cubicBezTo>
                  <a:cubicBezTo>
                    <a:pt x="0" y="56457"/>
                    <a:pt x="56420" y="0"/>
                    <a:pt x="1261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da-DK" sz="800"/>
            </a:p>
          </p:txBody>
        </p:sp>
        <p:sp>
          <p:nvSpPr>
            <p:cNvPr id="20" name="Freeform 16">
              <a:extLst>
                <a:ext uri="{FF2B5EF4-FFF2-40B4-BE49-F238E27FC236}">
                  <a16:creationId xmlns:a16="http://schemas.microsoft.com/office/drawing/2014/main" id="{42D4F206-276E-1B62-E4D2-9FC34DDD3EC8}"/>
                </a:ext>
              </a:extLst>
            </p:cNvPr>
            <p:cNvSpPr>
              <a:spLocks/>
            </p:cNvSpPr>
            <p:nvPr userDrawn="1"/>
          </p:nvSpPr>
          <p:spPr bwMode="auto">
            <a:xfrm>
              <a:off x="-1670050" y="8128001"/>
              <a:ext cx="112713" cy="142875"/>
            </a:xfrm>
            <a:custGeom>
              <a:avLst/>
              <a:gdLst>
                <a:gd name="T0" fmla="*/ 666 w 686"/>
                <a:gd name="T1" fmla="*/ 176 h 871"/>
                <a:gd name="T2" fmla="*/ 666 w 686"/>
                <a:gd name="T3" fmla="*/ 176 h 871"/>
                <a:gd name="T4" fmla="*/ 647 w 686"/>
                <a:gd name="T5" fmla="*/ 136 h 871"/>
                <a:gd name="T6" fmla="*/ 647 w 686"/>
                <a:gd name="T7" fmla="*/ 136 h 871"/>
                <a:gd name="T8" fmla="*/ 346 w 686"/>
                <a:gd name="T9" fmla="*/ 0 h 871"/>
                <a:gd name="T10" fmla="*/ 253 w 686"/>
                <a:gd name="T11" fmla="*/ 7 h 871"/>
                <a:gd name="T12" fmla="*/ 120 w 686"/>
                <a:gd name="T13" fmla="*/ 52 h 871"/>
                <a:gd name="T14" fmla="*/ 37 w 686"/>
                <a:gd name="T15" fmla="*/ 136 h 871"/>
                <a:gd name="T16" fmla="*/ 38 w 686"/>
                <a:gd name="T17" fmla="*/ 136 h 871"/>
                <a:gd name="T18" fmla="*/ 19 w 686"/>
                <a:gd name="T19" fmla="*/ 175 h 871"/>
                <a:gd name="T20" fmla="*/ 0 w 686"/>
                <a:gd name="T21" fmla="*/ 295 h 871"/>
                <a:gd name="T22" fmla="*/ 0 w 686"/>
                <a:gd name="T23" fmla="*/ 871 h 871"/>
                <a:gd name="T24" fmla="*/ 154 w 686"/>
                <a:gd name="T25" fmla="*/ 871 h 871"/>
                <a:gd name="T26" fmla="*/ 154 w 686"/>
                <a:gd name="T27" fmla="*/ 303 h 871"/>
                <a:gd name="T28" fmla="*/ 327 w 686"/>
                <a:gd name="T29" fmla="*/ 145 h 871"/>
                <a:gd name="T30" fmla="*/ 338 w 686"/>
                <a:gd name="T31" fmla="*/ 145 h 871"/>
                <a:gd name="T32" fmla="*/ 498 w 686"/>
                <a:gd name="T33" fmla="*/ 191 h 871"/>
                <a:gd name="T34" fmla="*/ 501 w 686"/>
                <a:gd name="T35" fmla="*/ 194 h 871"/>
                <a:gd name="T36" fmla="*/ 504 w 686"/>
                <a:gd name="T37" fmla="*/ 199 h 871"/>
                <a:gd name="T38" fmla="*/ 530 w 686"/>
                <a:gd name="T39" fmla="*/ 275 h 871"/>
                <a:gd name="T40" fmla="*/ 531 w 686"/>
                <a:gd name="T41" fmla="*/ 303 h 871"/>
                <a:gd name="T42" fmla="*/ 531 w 686"/>
                <a:gd name="T43" fmla="*/ 871 h 871"/>
                <a:gd name="T44" fmla="*/ 686 w 686"/>
                <a:gd name="T45" fmla="*/ 871 h 871"/>
                <a:gd name="T46" fmla="*/ 686 w 686"/>
                <a:gd name="T47" fmla="*/ 295 h 871"/>
                <a:gd name="T48" fmla="*/ 666 w 686"/>
                <a:gd name="T49" fmla="*/ 17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871">
                  <a:moveTo>
                    <a:pt x="666" y="176"/>
                  </a:moveTo>
                  <a:lnTo>
                    <a:pt x="666" y="176"/>
                  </a:lnTo>
                  <a:cubicBezTo>
                    <a:pt x="661" y="162"/>
                    <a:pt x="655" y="148"/>
                    <a:pt x="647" y="136"/>
                  </a:cubicBezTo>
                  <a:lnTo>
                    <a:pt x="647" y="136"/>
                  </a:lnTo>
                  <a:cubicBezTo>
                    <a:pt x="580" y="23"/>
                    <a:pt x="440" y="1"/>
                    <a:pt x="346" y="0"/>
                  </a:cubicBezTo>
                  <a:cubicBezTo>
                    <a:pt x="306" y="0"/>
                    <a:pt x="281" y="3"/>
                    <a:pt x="253" y="7"/>
                  </a:cubicBezTo>
                  <a:cubicBezTo>
                    <a:pt x="195" y="14"/>
                    <a:pt x="151" y="30"/>
                    <a:pt x="120" y="52"/>
                  </a:cubicBezTo>
                  <a:cubicBezTo>
                    <a:pt x="85" y="74"/>
                    <a:pt x="57" y="102"/>
                    <a:pt x="37" y="136"/>
                  </a:cubicBezTo>
                  <a:lnTo>
                    <a:pt x="38" y="136"/>
                  </a:lnTo>
                  <a:cubicBezTo>
                    <a:pt x="30" y="148"/>
                    <a:pt x="24" y="161"/>
                    <a:pt x="19" y="175"/>
                  </a:cubicBezTo>
                  <a:cubicBezTo>
                    <a:pt x="6" y="210"/>
                    <a:pt x="0" y="250"/>
                    <a:pt x="0" y="295"/>
                  </a:cubicBezTo>
                  <a:lnTo>
                    <a:pt x="0" y="871"/>
                  </a:lnTo>
                  <a:lnTo>
                    <a:pt x="154" y="871"/>
                  </a:lnTo>
                  <a:lnTo>
                    <a:pt x="154" y="303"/>
                  </a:lnTo>
                  <a:cubicBezTo>
                    <a:pt x="154" y="196"/>
                    <a:pt x="197" y="151"/>
                    <a:pt x="327" y="145"/>
                  </a:cubicBezTo>
                  <a:cubicBezTo>
                    <a:pt x="332" y="145"/>
                    <a:pt x="339" y="145"/>
                    <a:pt x="338" y="145"/>
                  </a:cubicBezTo>
                  <a:cubicBezTo>
                    <a:pt x="419" y="146"/>
                    <a:pt x="469" y="160"/>
                    <a:pt x="498" y="191"/>
                  </a:cubicBezTo>
                  <a:cubicBezTo>
                    <a:pt x="499" y="192"/>
                    <a:pt x="500" y="193"/>
                    <a:pt x="501" y="194"/>
                  </a:cubicBezTo>
                  <a:cubicBezTo>
                    <a:pt x="502" y="196"/>
                    <a:pt x="503" y="197"/>
                    <a:pt x="504" y="199"/>
                  </a:cubicBezTo>
                  <a:cubicBezTo>
                    <a:pt x="519" y="218"/>
                    <a:pt x="527" y="243"/>
                    <a:pt x="530" y="275"/>
                  </a:cubicBezTo>
                  <a:cubicBezTo>
                    <a:pt x="531" y="284"/>
                    <a:pt x="531" y="293"/>
                    <a:pt x="531" y="303"/>
                  </a:cubicBezTo>
                  <a:lnTo>
                    <a:pt x="531" y="871"/>
                  </a:lnTo>
                  <a:lnTo>
                    <a:pt x="686" y="871"/>
                  </a:lnTo>
                  <a:lnTo>
                    <a:pt x="686" y="295"/>
                  </a:lnTo>
                  <a:cubicBezTo>
                    <a:pt x="686" y="251"/>
                    <a:pt x="679" y="211"/>
                    <a:pt x="666" y="17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a-DK" sz="800"/>
            </a:p>
          </p:txBody>
        </p:sp>
      </p:grpSp>
    </p:spTree>
    <p:extLst>
      <p:ext uri="{BB962C8B-B14F-4D97-AF65-F5344CB8AC3E}">
        <p14:creationId xmlns:p14="http://schemas.microsoft.com/office/powerpoint/2010/main" val="367116052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hf hdr="0"/>
  <p:txStyles>
    <p:titleStyle>
      <a:lvl1pPr algn="l" defTabSz="914400" rtl="0" eaLnBrk="1" latinLnBrk="0" hangingPunct="1">
        <a:lnSpc>
          <a:spcPct val="87000"/>
        </a:lnSpc>
        <a:spcBef>
          <a:spcPct val="0"/>
        </a:spcBef>
        <a:buNone/>
        <a:defRPr sz="3000" b="1" kern="1200">
          <a:solidFill>
            <a:schemeClr val="tx2"/>
          </a:solidFill>
          <a:latin typeface="+mn-lt"/>
          <a:ea typeface="+mj-ea"/>
          <a:cs typeface="+mj-cs"/>
        </a:defRPr>
      </a:lvl1pPr>
    </p:titleStyle>
    <p:bodyStyle>
      <a:lvl1pPr marL="0" indent="0" algn="l" defTabSz="914400" rtl="0" eaLnBrk="1" latinLnBrk="0" hangingPunct="1">
        <a:lnSpc>
          <a:spcPct val="110000"/>
        </a:lnSpc>
        <a:spcBef>
          <a:spcPts val="0"/>
        </a:spcBef>
        <a:buFont typeface="IBM Plex Sans" panose="020B0503050203000203" pitchFamily="34" charset="0"/>
        <a:buNone/>
        <a:defRPr sz="1600" kern="1200">
          <a:solidFill>
            <a:schemeClr val="tx2"/>
          </a:solidFill>
          <a:latin typeface="IBM Plex Sans" panose="020B0503050203000203" pitchFamily="34" charset="0"/>
          <a:ea typeface="+mn-ea"/>
          <a:cs typeface="+mn-cs"/>
        </a:defRPr>
      </a:lvl1pPr>
      <a:lvl2pPr marL="177800" indent="-177800" algn="l" defTabSz="914400" rtl="0" eaLnBrk="1" latinLnBrk="0" hangingPunct="1">
        <a:lnSpc>
          <a:spcPct val="110000"/>
        </a:lnSpc>
        <a:spcBef>
          <a:spcPts val="0"/>
        </a:spcBef>
        <a:buFont typeface="IBM Plex Sans" panose="020B0503050203000203" pitchFamily="34" charset="0"/>
        <a:buChar char="•"/>
        <a:defRPr sz="1600" kern="1200">
          <a:solidFill>
            <a:schemeClr val="tx2"/>
          </a:solidFill>
          <a:latin typeface="IBM Plex Sans" panose="020B0503050203000203" pitchFamily="34" charset="0"/>
          <a:ea typeface="+mn-ea"/>
          <a:cs typeface="+mn-cs"/>
        </a:defRPr>
      </a:lvl2pPr>
      <a:lvl3pPr marL="425450" indent="-234950" algn="l" defTabSz="914400" rtl="0" eaLnBrk="1" latinLnBrk="0" hangingPunct="1">
        <a:lnSpc>
          <a:spcPct val="110000"/>
        </a:lnSpc>
        <a:spcBef>
          <a:spcPts val="0"/>
        </a:spcBef>
        <a:buFont typeface="IBM Plex Sans" panose="020B0503050203000203" pitchFamily="34" charset="0"/>
        <a:buChar char="–"/>
        <a:defRPr sz="1600" kern="1200">
          <a:solidFill>
            <a:schemeClr val="tx2"/>
          </a:solidFill>
          <a:latin typeface="IBM Plex Sans" panose="020B0503050203000203" pitchFamily="34" charset="0"/>
          <a:ea typeface="+mn-ea"/>
          <a:cs typeface="+mn-cs"/>
        </a:defRPr>
      </a:lvl3pPr>
      <a:lvl4pPr marL="609600" indent="-158750" algn="l" defTabSz="914400" rtl="0" eaLnBrk="1" latinLnBrk="0" hangingPunct="1">
        <a:lnSpc>
          <a:spcPct val="110000"/>
        </a:lnSpc>
        <a:spcBef>
          <a:spcPts val="0"/>
        </a:spcBef>
        <a:buFont typeface="IBM Plex Sans" panose="020B0503050203000203" pitchFamily="34" charset="0"/>
        <a:buChar char="•"/>
        <a:tabLst>
          <a:tab pos="438150" algn="l"/>
        </a:tabLst>
        <a:defRPr sz="1200" kern="1200">
          <a:solidFill>
            <a:schemeClr val="tx2"/>
          </a:solidFill>
          <a:latin typeface="IBM Plex Sans" panose="020B0503050203000203" pitchFamily="34" charset="0"/>
          <a:ea typeface="+mn-ea"/>
          <a:cs typeface="+mn-cs"/>
        </a:defRPr>
      </a:lvl4pPr>
      <a:lvl5pPr marL="831850" indent="-203200" algn="l" defTabSz="914400" rtl="0" eaLnBrk="1" latinLnBrk="0" hangingPunct="1">
        <a:lnSpc>
          <a:spcPct val="110000"/>
        </a:lnSpc>
        <a:spcBef>
          <a:spcPts val="0"/>
        </a:spcBef>
        <a:buFont typeface="IBM Plex Sans" panose="020B0503050203000203" pitchFamily="34" charset="0"/>
        <a:buChar char="–"/>
        <a:defRPr sz="1200" kern="1200">
          <a:solidFill>
            <a:schemeClr val="tx2"/>
          </a:solidFill>
          <a:latin typeface="IBM Plex Sans" panose="020B0503050203000203" pitchFamily="34" charset="0"/>
          <a:ea typeface="+mn-ea"/>
          <a:cs typeface="+mn-cs"/>
        </a:defRPr>
      </a:lvl5pPr>
      <a:lvl6pPr marL="25146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1">
          <p15:clr>
            <a:srgbClr val="D9D9D9"/>
          </p15:clr>
        </p15:guide>
        <p15:guide id="142" pos="7680">
          <p15:clr>
            <a:srgbClr val="D9D9D9"/>
          </p15:clr>
        </p15:guide>
        <p15:guide id="143" pos="87">
          <p15:clr>
            <a:srgbClr val="D9D9D9"/>
          </p15:clr>
        </p15:guide>
        <p15:guide id="144" pos="174">
          <p15:clr>
            <a:srgbClr val="D9D9D9"/>
          </p15:clr>
        </p15:guide>
        <p15:guide id="145" pos="261">
          <p15:clr>
            <a:srgbClr val="F26B43"/>
          </p15:clr>
        </p15:guide>
        <p15:guide id="146" pos="349">
          <p15:clr>
            <a:srgbClr val="D9D9D9"/>
          </p15:clr>
        </p15:guide>
        <p15:guide id="147" pos="436">
          <p15:clr>
            <a:srgbClr val="D9D9D9"/>
          </p15:clr>
        </p15:guide>
        <p15:guide id="148" pos="523">
          <p15:clr>
            <a:srgbClr val="D9D9D9"/>
          </p15:clr>
        </p15:guide>
        <p15:guide id="149" pos="610">
          <p15:clr>
            <a:srgbClr val="D9D9D9"/>
          </p15:clr>
        </p15:guide>
        <p15:guide id="150" pos="698">
          <p15:clr>
            <a:srgbClr val="A4A3A4"/>
          </p15:clr>
        </p15:guide>
        <p15:guide id="151" pos="785">
          <p15:clr>
            <a:srgbClr val="D9D9D9"/>
          </p15:clr>
        </p15:guide>
        <p15:guide id="152" pos="872">
          <p15:clr>
            <a:srgbClr val="A4A3A4"/>
          </p15:clr>
        </p15:guide>
        <p15:guide id="153" pos="960">
          <p15:clr>
            <a:srgbClr val="D9D9D9"/>
          </p15:clr>
        </p15:guide>
        <p15:guide id="154" pos="1047">
          <p15:clr>
            <a:srgbClr val="D9D9D9"/>
          </p15:clr>
        </p15:guide>
        <p15:guide id="155" pos="1134">
          <p15:clr>
            <a:srgbClr val="D9D9D9"/>
          </p15:clr>
        </p15:guide>
        <p15:guide id="156" pos="1221">
          <p15:clr>
            <a:srgbClr val="D9D9D9"/>
          </p15:clr>
        </p15:guide>
        <p15:guide id="157" pos="1309">
          <p15:clr>
            <a:srgbClr val="A4A3A4"/>
          </p15:clr>
        </p15:guide>
        <p15:guide id="158" pos="1396">
          <p15:clr>
            <a:srgbClr val="D9D9D9"/>
          </p15:clr>
        </p15:guide>
        <p15:guide id="159" pos="1483">
          <p15:clr>
            <a:srgbClr val="A4A3A4"/>
          </p15:clr>
        </p15:guide>
        <p15:guide id="160" pos="1570">
          <p15:clr>
            <a:srgbClr val="D9D9D9"/>
          </p15:clr>
        </p15:guide>
        <p15:guide id="161" pos="1658">
          <p15:clr>
            <a:srgbClr val="D9D9D9"/>
          </p15:clr>
        </p15:guide>
        <p15:guide id="162" pos="1745">
          <p15:clr>
            <a:srgbClr val="D9D9D9"/>
          </p15:clr>
        </p15:guide>
        <p15:guide id="163" pos="1832">
          <p15:clr>
            <a:srgbClr val="D9D9D9"/>
          </p15:clr>
        </p15:guide>
        <p15:guide id="164" pos="1920">
          <p15:clr>
            <a:srgbClr val="A4A3A4"/>
          </p15:clr>
        </p15:guide>
        <p15:guide id="165" pos="2007">
          <p15:clr>
            <a:srgbClr val="D9D9D9"/>
          </p15:clr>
        </p15:guide>
        <p15:guide id="166" pos="2094">
          <p15:clr>
            <a:srgbClr val="A4A3A4"/>
          </p15:clr>
        </p15:guide>
        <p15:guide id="167" pos="2181">
          <p15:clr>
            <a:srgbClr val="D9D9D9"/>
          </p15:clr>
        </p15:guide>
        <p15:guide id="168" pos="2269">
          <p15:clr>
            <a:srgbClr val="D9D9D9"/>
          </p15:clr>
        </p15:guide>
        <p15:guide id="169" pos="2356">
          <p15:clr>
            <a:srgbClr val="D9D9D9"/>
          </p15:clr>
        </p15:guide>
        <p15:guide id="170" pos="2443">
          <p15:clr>
            <a:srgbClr val="D9D9D9"/>
          </p15:clr>
        </p15:guide>
        <p15:guide id="171" pos="2530">
          <p15:clr>
            <a:srgbClr val="A4A3A4"/>
          </p15:clr>
        </p15:guide>
        <p15:guide id="172" pos="2618">
          <p15:clr>
            <a:srgbClr val="D9D9D9"/>
          </p15:clr>
        </p15:guide>
        <p15:guide id="173" pos="2705">
          <p15:clr>
            <a:srgbClr val="A4A3A4"/>
          </p15:clr>
        </p15:guide>
        <p15:guide id="174" pos="2792">
          <p15:clr>
            <a:srgbClr val="D9D9D9"/>
          </p15:clr>
        </p15:guide>
        <p15:guide id="175" pos="2880">
          <p15:clr>
            <a:srgbClr val="D9D9D9"/>
          </p15:clr>
        </p15:guide>
        <p15:guide id="176" pos="2967">
          <p15:clr>
            <a:srgbClr val="D9D9D9"/>
          </p15:clr>
        </p15:guide>
        <p15:guide id="177" pos="3054">
          <p15:clr>
            <a:srgbClr val="D9D9D9"/>
          </p15:clr>
        </p15:guide>
        <p15:guide id="178" pos="3141">
          <p15:clr>
            <a:srgbClr val="A4A3A4"/>
          </p15:clr>
        </p15:guide>
        <p15:guide id="179" pos="3229">
          <p15:clr>
            <a:srgbClr val="D9D9D9"/>
          </p15:clr>
        </p15:guide>
        <p15:guide id="180" pos="3316">
          <p15:clr>
            <a:srgbClr val="A4A3A4"/>
          </p15:clr>
        </p15:guide>
        <p15:guide id="181" pos="3403">
          <p15:clr>
            <a:srgbClr val="D9D9D9"/>
          </p15:clr>
        </p15:guide>
        <p15:guide id="182" pos="3490">
          <p15:clr>
            <a:srgbClr val="D9D9D9"/>
          </p15:clr>
        </p15:guide>
        <p15:guide id="183" pos="3578">
          <p15:clr>
            <a:srgbClr val="D9D9D9"/>
          </p15:clr>
        </p15:guide>
        <p15:guide id="184" pos="3665">
          <p15:clr>
            <a:srgbClr val="D9D9D9"/>
          </p15:clr>
        </p15:guide>
        <p15:guide id="185" pos="3752">
          <p15:clr>
            <a:srgbClr val="A4A3A4"/>
          </p15:clr>
        </p15:guide>
        <p15:guide id="186" pos="3840">
          <p15:clr>
            <a:srgbClr val="D9D9D9"/>
          </p15:clr>
        </p15:guide>
        <p15:guide id="187" pos="3927">
          <p15:clr>
            <a:srgbClr val="A4A3A4"/>
          </p15:clr>
        </p15:guide>
        <p15:guide id="188" pos="4014">
          <p15:clr>
            <a:srgbClr val="D9D9D9"/>
          </p15:clr>
        </p15:guide>
        <p15:guide id="189" pos="4101">
          <p15:clr>
            <a:srgbClr val="D9D9D9"/>
          </p15:clr>
        </p15:guide>
        <p15:guide id="190" pos="4189">
          <p15:clr>
            <a:srgbClr val="D9D9D9"/>
          </p15:clr>
        </p15:guide>
        <p15:guide id="191" pos="4276">
          <p15:clr>
            <a:srgbClr val="D9D9D9"/>
          </p15:clr>
        </p15:guide>
        <p15:guide id="192" pos="4363">
          <p15:clr>
            <a:srgbClr val="A4A3A4"/>
          </p15:clr>
        </p15:guide>
        <p15:guide id="193" pos="4450">
          <p15:clr>
            <a:srgbClr val="D9D9D9"/>
          </p15:clr>
        </p15:guide>
        <p15:guide id="194" pos="4538">
          <p15:clr>
            <a:srgbClr val="A4A3A4"/>
          </p15:clr>
        </p15:guide>
        <p15:guide id="195" pos="4625">
          <p15:clr>
            <a:srgbClr val="D9D9D9"/>
          </p15:clr>
        </p15:guide>
        <p15:guide id="196" pos="4712">
          <p15:clr>
            <a:srgbClr val="D9D9D9"/>
          </p15:clr>
        </p15:guide>
        <p15:guide id="197" pos="4800">
          <p15:clr>
            <a:srgbClr val="D9D9D9"/>
          </p15:clr>
        </p15:guide>
        <p15:guide id="198" pos="4887">
          <p15:clr>
            <a:srgbClr val="D9D9D9"/>
          </p15:clr>
        </p15:guide>
        <p15:guide id="199" pos="4974">
          <p15:clr>
            <a:srgbClr val="A4A3A4"/>
          </p15:clr>
        </p15:guide>
        <p15:guide id="200" pos="5061">
          <p15:clr>
            <a:srgbClr val="D9D9D9"/>
          </p15:clr>
        </p15:guide>
        <p15:guide id="201" pos="5149">
          <p15:clr>
            <a:srgbClr val="A4A3A4"/>
          </p15:clr>
        </p15:guide>
        <p15:guide id="202" pos="5236">
          <p15:clr>
            <a:srgbClr val="D9D9D9"/>
          </p15:clr>
        </p15:guide>
        <p15:guide id="203" pos="5323">
          <p15:clr>
            <a:srgbClr val="D9D9D9"/>
          </p15:clr>
        </p15:guide>
        <p15:guide id="204" pos="5410">
          <p15:clr>
            <a:srgbClr val="D9D9D9"/>
          </p15:clr>
        </p15:guide>
        <p15:guide id="205" pos="5498">
          <p15:clr>
            <a:srgbClr val="D9D9D9"/>
          </p15:clr>
        </p15:guide>
        <p15:guide id="206" pos="5585">
          <p15:clr>
            <a:srgbClr val="A4A3A4"/>
          </p15:clr>
        </p15:guide>
        <p15:guide id="207" pos="5672">
          <p15:clr>
            <a:srgbClr val="D9D9D9"/>
          </p15:clr>
        </p15:guide>
        <p15:guide id="208" pos="5760">
          <p15:clr>
            <a:srgbClr val="A4A3A4"/>
          </p15:clr>
        </p15:guide>
        <p15:guide id="209" pos="5847">
          <p15:clr>
            <a:srgbClr val="D9D9D9"/>
          </p15:clr>
        </p15:guide>
        <p15:guide id="210" pos="5934">
          <p15:clr>
            <a:srgbClr val="D9D9D9"/>
          </p15:clr>
        </p15:guide>
        <p15:guide id="211" pos="6021">
          <p15:clr>
            <a:srgbClr val="D9D9D9"/>
          </p15:clr>
        </p15:guide>
        <p15:guide id="212" pos="6109">
          <p15:clr>
            <a:srgbClr val="D9D9D9"/>
          </p15:clr>
        </p15:guide>
        <p15:guide id="213" pos="6196">
          <p15:clr>
            <a:srgbClr val="A4A3A4"/>
          </p15:clr>
        </p15:guide>
        <p15:guide id="214" pos="6283">
          <p15:clr>
            <a:srgbClr val="D9D9D9"/>
          </p15:clr>
        </p15:guide>
        <p15:guide id="215" pos="6370">
          <p15:clr>
            <a:srgbClr val="A4A3A4"/>
          </p15:clr>
        </p15:guide>
        <p15:guide id="216" pos="6458">
          <p15:clr>
            <a:srgbClr val="D9D9D9"/>
          </p15:clr>
        </p15:guide>
        <p15:guide id="217" pos="6545">
          <p15:clr>
            <a:srgbClr val="D9D9D9"/>
          </p15:clr>
        </p15:guide>
        <p15:guide id="218" pos="6632">
          <p15:clr>
            <a:srgbClr val="D9D9D9"/>
          </p15:clr>
        </p15:guide>
        <p15:guide id="219" pos="6720">
          <p15:clr>
            <a:srgbClr val="D9D9D9"/>
          </p15:clr>
        </p15:guide>
        <p15:guide id="220" pos="6807">
          <p15:clr>
            <a:srgbClr val="A4A3A4"/>
          </p15:clr>
        </p15:guide>
        <p15:guide id="221" pos="6894">
          <p15:clr>
            <a:srgbClr val="D9D9D9"/>
          </p15:clr>
        </p15:guide>
        <p15:guide id="222" pos="6981">
          <p15:clr>
            <a:srgbClr val="A4A3A4"/>
          </p15:clr>
        </p15:guide>
        <p15:guide id="223" pos="7069">
          <p15:clr>
            <a:srgbClr val="D9D9D9"/>
          </p15:clr>
        </p15:guide>
        <p15:guide id="224" pos="7156">
          <p15:clr>
            <a:srgbClr val="D9D9D9"/>
          </p15:clr>
        </p15:guide>
        <p15:guide id="225" pos="7243">
          <p15:clr>
            <a:srgbClr val="D9D9D9"/>
          </p15:clr>
        </p15:guide>
        <p15:guide id="226" pos="7330">
          <p15:clr>
            <a:srgbClr val="D9D9D9"/>
          </p15:clr>
        </p15:guide>
        <p15:guide id="227" pos="7418">
          <p15:clr>
            <a:srgbClr val="F26B43"/>
          </p15:clr>
        </p15:guide>
        <p15:guide id="228" pos="7505">
          <p15:clr>
            <a:srgbClr val="D9D9D9"/>
          </p15:clr>
        </p15:guide>
        <p15:guide id="229" pos="7592">
          <p15:clr>
            <a:srgbClr val="D9D9D9"/>
          </p15:clr>
        </p15:guide>
        <p15:guide id="230" orient="horz">
          <p15:clr>
            <a:srgbClr val="D9D9D9"/>
          </p15:clr>
        </p15:guide>
        <p15:guide id="231" orient="horz" pos="4320">
          <p15:clr>
            <a:srgbClr val="D9D9D9"/>
          </p15:clr>
        </p15:guide>
        <p15:guide id="232" orient="horz" pos="88">
          <p15:clr>
            <a:srgbClr val="D9D9D9"/>
          </p15:clr>
        </p15:guide>
        <p15:guide id="233" orient="horz" pos="176">
          <p15:clr>
            <a:srgbClr val="D9D9D9"/>
          </p15:clr>
        </p15:guide>
        <p15:guide id="234" orient="horz" pos="264">
          <p15:clr>
            <a:srgbClr val="F26B43"/>
          </p15:clr>
        </p15:guide>
        <p15:guide id="235" orient="horz" pos="352">
          <p15:clr>
            <a:srgbClr val="D9D9D9"/>
          </p15:clr>
        </p15:guide>
        <p15:guide id="236" orient="horz" pos="440">
          <p15:clr>
            <a:srgbClr val="D9D9D9"/>
          </p15:clr>
        </p15:guide>
        <p15:guide id="237" orient="horz" pos="528">
          <p15:clr>
            <a:srgbClr val="D9D9D9"/>
          </p15:clr>
        </p15:guide>
        <p15:guide id="238" orient="horz" pos="617">
          <p15:clr>
            <a:srgbClr val="D9D9D9"/>
          </p15:clr>
        </p15:guide>
        <p15:guide id="239" orient="horz" pos="705">
          <p15:clr>
            <a:srgbClr val="D9D9D9"/>
          </p15:clr>
        </p15:guide>
        <p15:guide id="240" orient="horz" pos="793">
          <p15:clr>
            <a:srgbClr val="D9D9D9"/>
          </p15:clr>
        </p15:guide>
        <p15:guide id="241" orient="horz" pos="881">
          <p15:clr>
            <a:srgbClr val="D9D9D9"/>
          </p15:clr>
        </p15:guide>
        <p15:guide id="242" orient="horz" pos="969">
          <p15:clr>
            <a:srgbClr val="D9D9D9"/>
          </p15:clr>
        </p15:guide>
        <p15:guide id="243" orient="horz" pos="1057">
          <p15:clr>
            <a:srgbClr val="F26B43"/>
          </p15:clr>
        </p15:guide>
        <p15:guide id="244" orient="horz" pos="1146">
          <p15:clr>
            <a:srgbClr val="D9D9D9"/>
          </p15:clr>
        </p15:guide>
        <p15:guide id="245" orient="horz" pos="1234">
          <p15:clr>
            <a:srgbClr val="D9D9D9"/>
          </p15:clr>
        </p15:guide>
        <p15:guide id="246" orient="horz" pos="1322">
          <p15:clr>
            <a:srgbClr val="D9D9D9"/>
          </p15:clr>
        </p15:guide>
        <p15:guide id="247" orient="horz" pos="1410">
          <p15:clr>
            <a:srgbClr val="D9D9D9"/>
          </p15:clr>
        </p15:guide>
        <p15:guide id="248" orient="horz" pos="1498">
          <p15:clr>
            <a:srgbClr val="D9D9D9"/>
          </p15:clr>
        </p15:guide>
        <p15:guide id="249" orient="horz" pos="1586">
          <p15:clr>
            <a:srgbClr val="D9D9D9"/>
          </p15:clr>
        </p15:guide>
        <p15:guide id="250" orient="horz" pos="1675">
          <p15:clr>
            <a:srgbClr val="D9D9D9"/>
          </p15:clr>
        </p15:guide>
        <p15:guide id="251" orient="horz" pos="1763">
          <p15:clr>
            <a:srgbClr val="D9D9D9"/>
          </p15:clr>
        </p15:guide>
        <p15:guide id="252" orient="horz" pos="1851">
          <p15:clr>
            <a:srgbClr val="D9D9D9"/>
          </p15:clr>
        </p15:guide>
        <p15:guide id="253" orient="horz" pos="1939">
          <p15:clr>
            <a:srgbClr val="D9D9D9"/>
          </p15:clr>
        </p15:guide>
        <p15:guide id="254" orient="horz" pos="2027">
          <p15:clr>
            <a:srgbClr val="D9D9D9"/>
          </p15:clr>
        </p15:guide>
        <p15:guide id="255" orient="horz" pos="2115">
          <p15:clr>
            <a:srgbClr val="D9D9D9"/>
          </p15:clr>
        </p15:guide>
        <p15:guide id="256" orient="horz" pos="2204">
          <p15:clr>
            <a:srgbClr val="D9D9D9"/>
          </p15:clr>
        </p15:guide>
        <p15:guide id="257" orient="horz" pos="2292">
          <p15:clr>
            <a:srgbClr val="D9D9D9"/>
          </p15:clr>
        </p15:guide>
        <p15:guide id="258" orient="horz" pos="2380">
          <p15:clr>
            <a:srgbClr val="D9D9D9"/>
          </p15:clr>
        </p15:guide>
        <p15:guide id="259" orient="horz" pos="2468">
          <p15:clr>
            <a:srgbClr val="D9D9D9"/>
          </p15:clr>
        </p15:guide>
        <p15:guide id="260" orient="horz" pos="2556">
          <p15:clr>
            <a:srgbClr val="D9D9D9"/>
          </p15:clr>
        </p15:guide>
        <p15:guide id="261" orient="horz" pos="2644">
          <p15:clr>
            <a:srgbClr val="D9D9D9"/>
          </p15:clr>
        </p15:guide>
        <p15:guide id="262" orient="horz" pos="2733">
          <p15:clr>
            <a:srgbClr val="D9D9D9"/>
          </p15:clr>
        </p15:guide>
        <p15:guide id="263" orient="horz" pos="2821">
          <p15:clr>
            <a:srgbClr val="D9D9D9"/>
          </p15:clr>
        </p15:guide>
        <p15:guide id="264" orient="horz" pos="2909">
          <p15:clr>
            <a:srgbClr val="D9D9D9"/>
          </p15:clr>
        </p15:guide>
        <p15:guide id="265" orient="horz" pos="2997">
          <p15:clr>
            <a:srgbClr val="D9D9D9"/>
          </p15:clr>
        </p15:guide>
        <p15:guide id="266" orient="horz" pos="3085">
          <p15:clr>
            <a:srgbClr val="D9D9D9"/>
          </p15:clr>
        </p15:guide>
        <p15:guide id="267" orient="horz" pos="3173">
          <p15:clr>
            <a:srgbClr val="D9D9D9"/>
          </p15:clr>
        </p15:guide>
        <p15:guide id="268" orient="horz" pos="3262">
          <p15:clr>
            <a:srgbClr val="D9D9D9"/>
          </p15:clr>
        </p15:guide>
        <p15:guide id="269" orient="horz" pos="3350">
          <p15:clr>
            <a:srgbClr val="D9D9D9"/>
          </p15:clr>
        </p15:guide>
        <p15:guide id="270" orient="horz" pos="3438">
          <p15:clr>
            <a:srgbClr val="D9D9D9"/>
          </p15:clr>
        </p15:guide>
        <p15:guide id="271" orient="horz" pos="3526">
          <p15:clr>
            <a:srgbClr val="D9D9D9"/>
          </p15:clr>
        </p15:guide>
        <p15:guide id="272" orient="horz" pos="3614">
          <p15:clr>
            <a:srgbClr val="D9D9D9"/>
          </p15:clr>
        </p15:guide>
        <p15:guide id="273" orient="horz" pos="3702">
          <p15:clr>
            <a:srgbClr val="D9D9D9"/>
          </p15:clr>
        </p15:guide>
        <p15:guide id="274" orient="horz" pos="3791">
          <p15:clr>
            <a:srgbClr val="D9D9D9"/>
          </p15:clr>
        </p15:guide>
        <p15:guide id="275" orient="horz" pos="3879">
          <p15:clr>
            <a:srgbClr val="F26B43"/>
          </p15:clr>
        </p15:guide>
        <p15:guide id="276" orient="horz" pos="3967">
          <p15:clr>
            <a:srgbClr val="D9D9D9"/>
          </p15:clr>
        </p15:guide>
        <p15:guide id="277" orient="horz" pos="4143">
          <p15:clr>
            <a:srgbClr val="D9D9D9"/>
          </p15:clr>
        </p15:guide>
        <p15:guide id="278" orient="horz" pos="4231">
          <p15:clr>
            <a:srgbClr val="D9D9D9"/>
          </p15:clr>
        </p15:guide>
        <p15:guide id="279" orient="horz" pos="4054">
          <p15:clr>
            <a:srgbClr val="D9D9D9"/>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6.jpeg"/><Relationship Id="rId2" Type="http://schemas.openxmlformats.org/officeDocument/2006/relationships/slideLayout" Target="../slideLayouts/slideLayout34.xml"/><Relationship Id="rId1" Type="http://schemas.openxmlformats.org/officeDocument/2006/relationships/tags" Target="../tags/tag2.xml"/><Relationship Id="rId6" Type="http://schemas.openxmlformats.org/officeDocument/2006/relationships/image" Target="../media/image35.jpe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40.jpeg"/><Relationship Id="rId2" Type="http://schemas.openxmlformats.org/officeDocument/2006/relationships/slideLayout" Target="../slideLayouts/slideLayout34.xml"/><Relationship Id="rId1" Type="http://schemas.openxmlformats.org/officeDocument/2006/relationships/tags" Target="../tags/tag3.xml"/><Relationship Id="rId6" Type="http://schemas.openxmlformats.org/officeDocument/2006/relationships/image" Target="../media/image39.jpe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4.xml"/><Relationship Id="rId1" Type="http://schemas.openxmlformats.org/officeDocument/2006/relationships/tags" Target="../tags/tag4.xml"/><Relationship Id="rId6" Type="http://schemas.openxmlformats.org/officeDocument/2006/relationships/image" Target="../media/image41.jpe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3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32.xml"/><Relationship Id="rId7" Type="http://schemas.openxmlformats.org/officeDocument/2006/relationships/image" Target="../media/image43.png"/><Relationship Id="rId2" Type="http://schemas.openxmlformats.org/officeDocument/2006/relationships/slideLayout" Target="../slideLayouts/slideLayout24.xml"/><Relationship Id="rId1" Type="http://schemas.openxmlformats.org/officeDocument/2006/relationships/tags" Target="../tags/tag5.xml"/><Relationship Id="rId6" Type="http://schemas.openxmlformats.org/officeDocument/2006/relationships/hyperlink" Target="http://www.frivilligjob.dk/" TargetMode="External"/><Relationship Id="rId5" Type="http://schemas.openxmlformats.org/officeDocument/2006/relationships/image" Target="../media/image34.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notesSlide" Target="../notesSlides/notesSlide33.xml"/><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slideLayout" Target="../slideLayouts/slideLayout36.xml"/><Relationship Id="rId16" Type="http://schemas.openxmlformats.org/officeDocument/2006/relationships/image" Target="../media/image55.svg"/><Relationship Id="rId1" Type="http://schemas.openxmlformats.org/officeDocument/2006/relationships/tags" Target="../tags/tag6.xml"/><Relationship Id="rId6" Type="http://schemas.openxmlformats.org/officeDocument/2006/relationships/image" Target="../media/image45.jpeg"/><Relationship Id="rId11" Type="http://schemas.openxmlformats.org/officeDocument/2006/relationships/image" Target="../media/image50.png"/><Relationship Id="rId5" Type="http://schemas.openxmlformats.org/officeDocument/2006/relationships/image" Target="../media/image34.emf"/><Relationship Id="rId15" Type="http://schemas.openxmlformats.org/officeDocument/2006/relationships/image" Target="../media/image54.png"/><Relationship Id="rId10" Type="http://schemas.openxmlformats.org/officeDocument/2006/relationships/image" Target="../media/image49.svg"/><Relationship Id="rId4" Type="http://schemas.openxmlformats.org/officeDocument/2006/relationships/oleObject" Target="../embeddings/oleObject1.bin"/><Relationship Id="rId9" Type="http://schemas.openxmlformats.org/officeDocument/2006/relationships/image" Target="../media/image48.png"/><Relationship Id="rId14" Type="http://schemas.openxmlformats.org/officeDocument/2006/relationships/image" Target="../media/image53.sv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57.jpeg"/><Relationship Id="rId2" Type="http://schemas.openxmlformats.org/officeDocument/2006/relationships/slideLayout" Target="../slideLayouts/slideLayout36.xml"/><Relationship Id="rId1" Type="http://schemas.openxmlformats.org/officeDocument/2006/relationships/tags" Target="../tags/tag7.xml"/><Relationship Id="rId6" Type="http://schemas.openxmlformats.org/officeDocument/2006/relationships/image" Target="../media/image56.jpe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6.xml"/><Relationship Id="rId1" Type="http://schemas.openxmlformats.org/officeDocument/2006/relationships/tags" Target="../tags/tag8.xml"/><Relationship Id="rId6" Type="http://schemas.openxmlformats.org/officeDocument/2006/relationships/image" Target="../media/image58.jpe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4.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3.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4.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22.jpe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E2880-06ED-E44F-AD98-E0BBABF061FB}"/>
              </a:ext>
            </a:extLst>
          </p:cNvPr>
          <p:cNvSpPr>
            <a:spLocks noGrp="1"/>
          </p:cNvSpPr>
          <p:nvPr>
            <p:ph type="ctrTitle"/>
          </p:nvPr>
        </p:nvSpPr>
        <p:spPr>
          <a:xfrm>
            <a:off x="830263" y="2091640"/>
            <a:ext cx="4433887" cy="2519363"/>
          </a:xfrm>
        </p:spPr>
        <p:txBody>
          <a:bodyPr anchor="b">
            <a:normAutofit/>
          </a:bodyPr>
          <a:lstStyle/>
          <a:p>
            <a:r>
              <a:rPr lang="da-DK"/>
              <a:t>Aktuel ældre- og sundhedspolitik</a:t>
            </a:r>
            <a:br>
              <a:rPr lang="da-DK"/>
            </a:br>
            <a:br>
              <a:rPr lang="da-DK"/>
            </a:br>
            <a:r>
              <a:rPr lang="da-DK"/>
              <a:t>Strategi 2026</a:t>
            </a:r>
          </a:p>
        </p:txBody>
      </p:sp>
      <p:sp>
        <p:nvSpPr>
          <p:cNvPr id="3" name="Subtitle 2">
            <a:extLst>
              <a:ext uri="{FF2B5EF4-FFF2-40B4-BE49-F238E27FC236}">
                <a16:creationId xmlns:a16="http://schemas.microsoft.com/office/drawing/2014/main" id="{3827A995-4F99-2BF2-03B2-C3C6D71535BE}"/>
              </a:ext>
            </a:extLst>
          </p:cNvPr>
          <p:cNvSpPr>
            <a:spLocks noGrp="1"/>
          </p:cNvSpPr>
          <p:nvPr>
            <p:ph type="subTitle" idx="1"/>
          </p:nvPr>
        </p:nvSpPr>
        <p:spPr>
          <a:xfrm>
            <a:off x="830263" y="4891991"/>
            <a:ext cx="5246261" cy="558799"/>
          </a:xfrm>
        </p:spPr>
        <p:txBody>
          <a:bodyPr>
            <a:noAutofit/>
          </a:bodyPr>
          <a:lstStyle/>
          <a:p>
            <a:pPr>
              <a:lnSpc>
                <a:spcPct val="100000"/>
              </a:lnSpc>
              <a:spcAft>
                <a:spcPts val="600"/>
              </a:spcAft>
            </a:pPr>
            <a:r>
              <a:rPr lang="da-DK" sz="2400"/>
              <a:t>Dialogmøder, september 2025</a:t>
            </a:r>
          </a:p>
          <a:p>
            <a:pPr>
              <a:lnSpc>
                <a:spcPct val="100000"/>
              </a:lnSpc>
              <a:spcAft>
                <a:spcPts val="600"/>
              </a:spcAft>
            </a:pPr>
            <a:r>
              <a:rPr lang="da-DK" sz="2400"/>
              <a:t>V/ Bjarne Hastrup</a:t>
            </a:r>
          </a:p>
        </p:txBody>
      </p:sp>
      <p:pic>
        <p:nvPicPr>
          <p:cNvPr id="4" name="Billede 3">
            <a:extLst>
              <a:ext uri="{FF2B5EF4-FFF2-40B4-BE49-F238E27FC236}">
                <a16:creationId xmlns:a16="http://schemas.microsoft.com/office/drawing/2014/main" id="{111C946B-FE7F-8ABC-EDFE-EED593B0CECD}"/>
              </a:ext>
            </a:extLst>
          </p:cNvPr>
          <p:cNvPicPr>
            <a:picLocks noChangeAspect="1"/>
          </p:cNvPicPr>
          <p:nvPr/>
        </p:nvPicPr>
        <p:blipFill>
          <a:blip r:embed="rId3"/>
          <a:srcRect r="-1" b="12248"/>
          <a:stretch>
            <a:fillRect/>
          </a:stretch>
        </p:blipFill>
        <p:spPr>
          <a:xfrm>
            <a:off x="6076524" y="10"/>
            <a:ext cx="6115477" cy="6857990"/>
          </a:xfrm>
          <a:custGeom>
            <a:avLst/>
            <a:gdLst>
              <a:gd name="connsiteX0" fmla="*/ 3097942 w 6115477"/>
              <a:gd name="connsiteY0" fmla="*/ 360991 h 6858000"/>
              <a:gd name="connsiteX1" fmla="*/ 5048086 w 6115477"/>
              <a:gd name="connsiteY1" fmla="*/ 1133487 h 6858000"/>
              <a:gd name="connsiteX2" fmla="*/ 4484764 w 6115477"/>
              <a:gd name="connsiteY2" fmla="*/ 4212194 h 6858000"/>
              <a:gd name="connsiteX3" fmla="*/ 4387400 w 6115477"/>
              <a:gd name="connsiteY3" fmla="*/ 4226220 h 6858000"/>
              <a:gd name="connsiteX4" fmla="*/ 3796261 w 6115477"/>
              <a:gd name="connsiteY4" fmla="*/ 3903622 h 6858000"/>
              <a:gd name="connsiteX5" fmla="*/ 3754534 w 6115477"/>
              <a:gd name="connsiteY5" fmla="*/ 3763362 h 6858000"/>
              <a:gd name="connsiteX6" fmla="*/ 3726715 w 6115477"/>
              <a:gd name="connsiteY6" fmla="*/ 3742323 h 6858000"/>
              <a:gd name="connsiteX7" fmla="*/ 3719760 w 6115477"/>
              <a:gd name="connsiteY7" fmla="*/ 3749336 h 6858000"/>
              <a:gd name="connsiteX8" fmla="*/ 3712806 w 6115477"/>
              <a:gd name="connsiteY8" fmla="*/ 3756349 h 6858000"/>
              <a:gd name="connsiteX9" fmla="*/ 3698897 w 6115477"/>
              <a:gd name="connsiteY9" fmla="*/ 3791414 h 6858000"/>
              <a:gd name="connsiteX10" fmla="*/ 4867266 w 6115477"/>
              <a:gd name="connsiteY10" fmla="*/ 4639987 h 6858000"/>
              <a:gd name="connsiteX11" fmla="*/ 6068128 w 6115477"/>
              <a:gd name="connsiteY11" fmla="*/ 3719238 h 6858000"/>
              <a:gd name="connsiteX12" fmla="*/ 6115477 w 6115477"/>
              <a:gd name="connsiteY12" fmla="*/ 3623370 h 6858000"/>
              <a:gd name="connsiteX13" fmla="*/ 6115477 w 6115477"/>
              <a:gd name="connsiteY13" fmla="*/ 6155481 h 6858000"/>
              <a:gd name="connsiteX14" fmla="*/ 6032540 w 6115477"/>
              <a:gd name="connsiteY14" fmla="*/ 6197000 h 6858000"/>
              <a:gd name="connsiteX15" fmla="*/ 2808711 w 6115477"/>
              <a:gd name="connsiteY15" fmla="*/ 5705963 h 6858000"/>
              <a:gd name="connsiteX16" fmla="*/ 3372032 w 6115477"/>
              <a:gd name="connsiteY16" fmla="*/ 2627256 h 6858000"/>
              <a:gd name="connsiteX17" fmla="*/ 3476350 w 6115477"/>
              <a:gd name="connsiteY17" fmla="*/ 2620243 h 6858000"/>
              <a:gd name="connsiteX18" fmla="*/ 4060535 w 6115477"/>
              <a:gd name="connsiteY18" fmla="*/ 2935828 h 6858000"/>
              <a:gd name="connsiteX19" fmla="*/ 4109217 w 6115477"/>
              <a:gd name="connsiteY19" fmla="*/ 3076088 h 6858000"/>
              <a:gd name="connsiteX20" fmla="*/ 4137036 w 6115477"/>
              <a:gd name="connsiteY20" fmla="*/ 3097127 h 6858000"/>
              <a:gd name="connsiteX21" fmla="*/ 4164854 w 6115477"/>
              <a:gd name="connsiteY21" fmla="*/ 3055049 h 6858000"/>
              <a:gd name="connsiteX22" fmla="*/ 3246265 w 6115477"/>
              <a:gd name="connsiteY22" fmla="*/ 2172370 h 6858000"/>
              <a:gd name="connsiteX23" fmla="*/ 2989530 w 6115477"/>
              <a:gd name="connsiteY23" fmla="*/ 2199463 h 6858000"/>
              <a:gd name="connsiteX24" fmla="*/ 1612523 w 6115477"/>
              <a:gd name="connsiteY24" fmla="*/ 3545959 h 6858000"/>
              <a:gd name="connsiteX25" fmla="*/ 2732210 w 6115477"/>
              <a:gd name="connsiteY25" fmla="*/ 6540510 h 6858000"/>
              <a:gd name="connsiteX26" fmla="*/ 3281622 w 6115477"/>
              <a:gd name="connsiteY26" fmla="*/ 6843823 h 6858000"/>
              <a:gd name="connsiteX27" fmla="*/ 3320286 w 6115477"/>
              <a:gd name="connsiteY27" fmla="*/ 6858000 h 6858000"/>
              <a:gd name="connsiteX28" fmla="*/ 1738891 w 6115477"/>
              <a:gd name="connsiteY28" fmla="*/ 6858000 h 6858000"/>
              <a:gd name="connsiteX29" fmla="*/ 1726405 w 6115477"/>
              <a:gd name="connsiteY29" fmla="*/ 6850836 h 6858000"/>
              <a:gd name="connsiteX30" fmla="*/ 381563 w 6115477"/>
              <a:gd name="connsiteY30" fmla="*/ 5348300 h 6858000"/>
              <a:gd name="connsiteX31" fmla="*/ 145107 w 6115477"/>
              <a:gd name="connsiteY31" fmla="*/ 2676347 h 6858000"/>
              <a:gd name="connsiteX32" fmla="*/ 3097942 w 6115477"/>
              <a:gd name="connsiteY32" fmla="*/ 360991 h 6858000"/>
              <a:gd name="connsiteX33" fmla="*/ 4590885 w 6115477"/>
              <a:gd name="connsiteY33" fmla="*/ 0 h 6858000"/>
              <a:gd name="connsiteX34" fmla="*/ 6115477 w 6115477"/>
              <a:gd name="connsiteY34" fmla="*/ 0 h 6858000"/>
              <a:gd name="connsiteX35" fmla="*/ 6115477 w 6115477"/>
              <a:gd name="connsiteY35" fmla="*/ 1478397 h 6858000"/>
              <a:gd name="connsiteX36" fmla="*/ 6086069 w 6115477"/>
              <a:gd name="connsiteY36" fmla="*/ 1413064 h 6858000"/>
              <a:gd name="connsiteX37" fmla="*/ 5124586 w 6115477"/>
              <a:gd name="connsiteY37" fmla="*/ 298940 h 6858000"/>
              <a:gd name="connsiteX38" fmla="*/ 4722511 w 6115477"/>
              <a:gd name="connsiteY38" fmla="*/ 59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115477" h="6858000">
                <a:moveTo>
                  <a:pt x="3097942" y="360991"/>
                </a:moveTo>
                <a:cubicBezTo>
                  <a:pt x="3783738" y="359646"/>
                  <a:pt x="4476724" y="600718"/>
                  <a:pt x="5048086" y="1133487"/>
                </a:cubicBezTo>
                <a:cubicBezTo>
                  <a:pt x="6035636" y="2045177"/>
                  <a:pt x="5938272" y="4029856"/>
                  <a:pt x="4484764" y="4212194"/>
                </a:cubicBezTo>
                <a:cubicBezTo>
                  <a:pt x="4449992" y="4219207"/>
                  <a:pt x="4422173" y="4219207"/>
                  <a:pt x="4387400" y="4226220"/>
                </a:cubicBezTo>
                <a:cubicBezTo>
                  <a:pt x="4143990" y="4226220"/>
                  <a:pt x="3914489" y="4135051"/>
                  <a:pt x="3796261" y="3903622"/>
                </a:cubicBezTo>
                <a:cubicBezTo>
                  <a:pt x="3775397" y="3847518"/>
                  <a:pt x="3754534" y="3763362"/>
                  <a:pt x="3754534" y="3763362"/>
                </a:cubicBezTo>
                <a:cubicBezTo>
                  <a:pt x="3747579" y="3749336"/>
                  <a:pt x="3740624" y="3742323"/>
                  <a:pt x="3726715" y="3742323"/>
                </a:cubicBezTo>
                <a:cubicBezTo>
                  <a:pt x="3726715" y="3742323"/>
                  <a:pt x="3719760" y="3742323"/>
                  <a:pt x="3719760" y="3749336"/>
                </a:cubicBezTo>
                <a:cubicBezTo>
                  <a:pt x="3712806" y="3749336"/>
                  <a:pt x="3712806" y="3756349"/>
                  <a:pt x="3712806" y="3756349"/>
                </a:cubicBezTo>
                <a:cubicBezTo>
                  <a:pt x="3705852" y="3763362"/>
                  <a:pt x="3698897" y="3777388"/>
                  <a:pt x="3698897" y="3791414"/>
                </a:cubicBezTo>
                <a:cubicBezTo>
                  <a:pt x="3538942" y="4408558"/>
                  <a:pt x="4171808" y="4780247"/>
                  <a:pt x="4867266" y="4639987"/>
                </a:cubicBezTo>
                <a:cubicBezTo>
                  <a:pt x="5308013" y="4560214"/>
                  <a:pt x="5771715" y="4272106"/>
                  <a:pt x="6068128" y="3719238"/>
                </a:cubicBezTo>
                <a:lnTo>
                  <a:pt x="6115477" y="3623370"/>
                </a:lnTo>
                <a:lnTo>
                  <a:pt x="6115477" y="6155481"/>
                </a:lnTo>
                <a:lnTo>
                  <a:pt x="6032540" y="6197000"/>
                </a:lnTo>
                <a:cubicBezTo>
                  <a:pt x="5009917" y="6670716"/>
                  <a:pt x="3747579" y="6577767"/>
                  <a:pt x="2808711" y="5705963"/>
                </a:cubicBezTo>
                <a:cubicBezTo>
                  <a:pt x="1828115" y="4801286"/>
                  <a:pt x="1918525" y="2809594"/>
                  <a:pt x="3372032" y="2627256"/>
                </a:cubicBezTo>
                <a:cubicBezTo>
                  <a:pt x="3406804" y="2620243"/>
                  <a:pt x="3441578" y="2620243"/>
                  <a:pt x="3476350" y="2620243"/>
                </a:cubicBezTo>
                <a:cubicBezTo>
                  <a:pt x="3712806" y="2613230"/>
                  <a:pt x="3942307" y="2704399"/>
                  <a:pt x="4060535" y="2935828"/>
                </a:cubicBezTo>
                <a:cubicBezTo>
                  <a:pt x="4088353" y="2991932"/>
                  <a:pt x="4109217" y="3076088"/>
                  <a:pt x="4109217" y="3076088"/>
                </a:cubicBezTo>
                <a:cubicBezTo>
                  <a:pt x="4109217" y="3076088"/>
                  <a:pt x="4123126" y="3097127"/>
                  <a:pt x="4137036" y="3097127"/>
                </a:cubicBezTo>
                <a:cubicBezTo>
                  <a:pt x="4143990" y="3097127"/>
                  <a:pt x="4157899" y="3083101"/>
                  <a:pt x="4164854" y="3055049"/>
                </a:cubicBezTo>
                <a:cubicBezTo>
                  <a:pt x="4304815" y="2508912"/>
                  <a:pt x="3832447" y="2161440"/>
                  <a:pt x="3246265" y="2172370"/>
                </a:cubicBezTo>
                <a:cubicBezTo>
                  <a:pt x="3162525" y="2173932"/>
                  <a:pt x="3076462" y="2182807"/>
                  <a:pt x="2989530" y="2199463"/>
                </a:cubicBezTo>
                <a:cubicBezTo>
                  <a:pt x="2447072" y="2304658"/>
                  <a:pt x="1876797" y="2711412"/>
                  <a:pt x="1612523" y="3545959"/>
                </a:cubicBezTo>
                <a:cubicBezTo>
                  <a:pt x="1243930" y="4724143"/>
                  <a:pt x="1800297" y="5874275"/>
                  <a:pt x="2732210" y="6540510"/>
                </a:cubicBezTo>
                <a:cubicBezTo>
                  <a:pt x="2906075" y="6663238"/>
                  <a:pt x="3090371" y="6763173"/>
                  <a:pt x="3281622" y="6843823"/>
                </a:cubicBezTo>
                <a:lnTo>
                  <a:pt x="3320286" y="6858000"/>
                </a:lnTo>
                <a:lnTo>
                  <a:pt x="1738891" y="6858000"/>
                </a:lnTo>
                <a:lnTo>
                  <a:pt x="1726405" y="6850836"/>
                </a:lnTo>
                <a:cubicBezTo>
                  <a:pt x="1134396" y="6482653"/>
                  <a:pt x="652791" y="5951418"/>
                  <a:pt x="381563" y="5348300"/>
                </a:cubicBezTo>
                <a:cubicBezTo>
                  <a:pt x="-56576" y="4352454"/>
                  <a:pt x="-91349" y="3440764"/>
                  <a:pt x="145107" y="2676347"/>
                </a:cubicBezTo>
                <a:cubicBezTo>
                  <a:pt x="505659" y="1249640"/>
                  <a:pt x="1788697" y="363557"/>
                  <a:pt x="3097942" y="360991"/>
                </a:cubicBezTo>
                <a:close/>
                <a:moveTo>
                  <a:pt x="4590885" y="0"/>
                </a:moveTo>
                <a:lnTo>
                  <a:pt x="6115477" y="0"/>
                </a:lnTo>
                <a:lnTo>
                  <a:pt x="6115477" y="1478397"/>
                </a:lnTo>
                <a:lnTo>
                  <a:pt x="6086069" y="1413064"/>
                </a:lnTo>
                <a:cubicBezTo>
                  <a:pt x="5868129" y="974517"/>
                  <a:pt x="5532298" y="590418"/>
                  <a:pt x="5124586" y="298940"/>
                </a:cubicBezTo>
                <a:cubicBezTo>
                  <a:pt x="4996796" y="206895"/>
                  <a:pt x="4862159" y="127670"/>
                  <a:pt x="4722511" y="59786"/>
                </a:cubicBezTo>
                <a:close/>
              </a:path>
            </a:pathLst>
          </a:custGeom>
          <a:noFill/>
        </p:spPr>
      </p:pic>
    </p:spTree>
    <p:extLst>
      <p:ext uri="{BB962C8B-B14F-4D97-AF65-F5344CB8AC3E}">
        <p14:creationId xmlns:p14="http://schemas.microsoft.com/office/powerpoint/2010/main" val="248854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C5C15-FE82-D365-202D-175F3CAAF6BF}"/>
            </a:ext>
          </a:extLst>
        </p:cNvPr>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1529F23-B800-93B8-2030-14EEFC4218B2}"/>
              </a:ext>
            </a:extLst>
          </p:cNvPr>
          <p:cNvSpPr>
            <a:spLocks noGrp="1"/>
          </p:cNvSpPr>
          <p:nvPr>
            <p:ph sz="quarter" idx="14"/>
          </p:nvPr>
        </p:nvSpPr>
        <p:spPr>
          <a:xfrm>
            <a:off x="476251" y="1919883"/>
            <a:ext cx="5459763" cy="4286250"/>
          </a:xfrm>
        </p:spPr>
        <p:txBody>
          <a:bodyPr anchor="t">
            <a:normAutofit/>
          </a:bodyPr>
          <a:lstStyle/>
          <a:p>
            <a:pPr marL="0" indent="0">
              <a:buNone/>
            </a:pPr>
            <a:r>
              <a:rPr lang="da-DK"/>
              <a:t> </a:t>
            </a:r>
          </a:p>
          <a:p>
            <a:pPr marL="240030" indent="-240665"/>
            <a:endParaRPr lang="da-DK"/>
          </a:p>
        </p:txBody>
      </p:sp>
      <p:sp>
        <p:nvSpPr>
          <p:cNvPr id="5" name="Titel 4">
            <a:extLst>
              <a:ext uri="{FF2B5EF4-FFF2-40B4-BE49-F238E27FC236}">
                <a16:creationId xmlns:a16="http://schemas.microsoft.com/office/drawing/2014/main" id="{8588D0EC-D61A-980D-C298-BE28B5E897FF}"/>
              </a:ext>
            </a:extLst>
          </p:cNvPr>
          <p:cNvSpPr>
            <a:spLocks noGrp="1"/>
          </p:cNvSpPr>
          <p:nvPr>
            <p:ph type="title"/>
          </p:nvPr>
        </p:nvSpPr>
        <p:spPr>
          <a:xfrm>
            <a:off x="414337" y="419100"/>
            <a:ext cx="11361737" cy="839788"/>
          </a:xfrm>
        </p:spPr>
        <p:txBody>
          <a:bodyPr anchor="t">
            <a:normAutofit/>
          </a:bodyPr>
          <a:lstStyle/>
          <a:p>
            <a:r>
              <a:rPr lang="da-DK"/>
              <a:t>Omsorgssvigt</a:t>
            </a:r>
          </a:p>
        </p:txBody>
      </p:sp>
      <p:sp>
        <p:nvSpPr>
          <p:cNvPr id="6" name="Pladsholder til slidenummer 5">
            <a:extLst>
              <a:ext uri="{FF2B5EF4-FFF2-40B4-BE49-F238E27FC236}">
                <a16:creationId xmlns:a16="http://schemas.microsoft.com/office/drawing/2014/main" id="{ECFA7ECF-6992-8607-C373-6E75DE7BD6A1}"/>
              </a:ext>
            </a:extLst>
          </p:cNvPr>
          <p:cNvSpPr>
            <a:spLocks noGrp="1"/>
          </p:cNvSpPr>
          <p:nvPr>
            <p:ph type="sldNum" sz="quarter" idx="15"/>
          </p:nvPr>
        </p:nvSpPr>
        <p:spPr>
          <a:xfrm>
            <a:off x="11082337" y="6577013"/>
            <a:ext cx="693737" cy="273050"/>
          </a:xfrm>
        </p:spPr>
        <p:txBody>
          <a:bodyPr anchor="ctr">
            <a:normAutofit/>
          </a:bodyPr>
          <a:lstStyle/>
          <a:p>
            <a:pPr>
              <a:spcAft>
                <a:spcPts val="600"/>
              </a:spcAft>
            </a:pPr>
            <a:fld id="{53638CB2-EA0C-44E4-A91A-4D7146E346C5}" type="slidenum">
              <a:rPr lang="da-DK" smtClean="0"/>
              <a:pPr>
                <a:spcAft>
                  <a:spcPts val="600"/>
                </a:spcAft>
              </a:pPr>
              <a:t>10</a:t>
            </a:fld>
            <a:endParaRPr lang="da-DK"/>
          </a:p>
        </p:txBody>
      </p:sp>
      <p:sp>
        <p:nvSpPr>
          <p:cNvPr id="14" name="Tekstfelt 13">
            <a:extLst>
              <a:ext uri="{FF2B5EF4-FFF2-40B4-BE49-F238E27FC236}">
                <a16:creationId xmlns:a16="http://schemas.microsoft.com/office/drawing/2014/main" id="{45C4165F-8273-A40D-B560-17D4559AE8EF}"/>
              </a:ext>
            </a:extLst>
          </p:cNvPr>
          <p:cNvSpPr txBox="1"/>
          <p:nvPr/>
        </p:nvSpPr>
        <p:spPr>
          <a:xfrm>
            <a:off x="4572000" y="1258888"/>
            <a:ext cx="7204074" cy="461664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da-DK" sz="2000" b="1">
              <a:solidFill>
                <a:schemeClr val="tx2"/>
              </a:solidFill>
            </a:endParaRPr>
          </a:p>
          <a:p>
            <a:pPr marL="285750" indent="-285750">
              <a:buFontTx/>
              <a:buChar char="-"/>
            </a:pPr>
            <a:r>
              <a:rPr lang="da-DK" sz="2000">
                <a:solidFill>
                  <a:schemeClr val="tx2"/>
                </a:solidFill>
              </a:rPr>
              <a:t>Ældre Sagens Rådgivning registrerer systematisk alle henvendelser om omsorgssvigt.</a:t>
            </a:r>
          </a:p>
          <a:p>
            <a:pPr marL="285750" indent="-285750">
              <a:buFontTx/>
              <a:buChar char="-"/>
            </a:pPr>
            <a:endParaRPr lang="da-DK" sz="2000">
              <a:solidFill>
                <a:schemeClr val="tx2"/>
              </a:solidFill>
            </a:endParaRPr>
          </a:p>
          <a:p>
            <a:pPr marL="285750" indent="-285750">
              <a:buFontTx/>
              <a:buChar char="-"/>
            </a:pPr>
            <a:r>
              <a:rPr lang="da-DK" sz="2000">
                <a:solidFill>
                  <a:schemeClr val="tx2"/>
                </a:solidFill>
              </a:rPr>
              <a:t>På bare et enkelt år er der indsamlet </a:t>
            </a:r>
            <a:r>
              <a:rPr lang="da-DK" sz="2000" b="1" u="sng">
                <a:solidFill>
                  <a:schemeClr val="tx2"/>
                </a:solidFill>
              </a:rPr>
              <a:t>næsten 200 vidnesbyrd om massiv omsorgssvigt</a:t>
            </a:r>
            <a:r>
              <a:rPr lang="da-DK" sz="2000">
                <a:solidFill>
                  <a:schemeClr val="tx2"/>
                </a:solidFill>
              </a:rPr>
              <a:t> af ældre.</a:t>
            </a:r>
          </a:p>
          <a:p>
            <a:pPr marL="285750" indent="-285750">
              <a:buFont typeface="Calibri"/>
              <a:buChar char="-"/>
            </a:pPr>
            <a:endParaRPr lang="da-DK" sz="2000">
              <a:solidFill>
                <a:schemeClr val="tx2"/>
              </a:solidFill>
            </a:endParaRPr>
          </a:p>
          <a:p>
            <a:pPr marL="285750" indent="-285750">
              <a:buFont typeface="Calibri"/>
              <a:buChar char="-"/>
            </a:pPr>
            <a:r>
              <a:rPr lang="da-DK" sz="2000">
                <a:solidFill>
                  <a:schemeClr val="tx2"/>
                </a:solidFill>
                <a:ea typeface="+mn-lt"/>
                <a:cs typeface="+mn-lt"/>
              </a:rPr>
              <a:t>Det drejer sig om omsorgssvigt både på plejehjem, i hjemmeplejen, ved egen læge og i den øvrige sundhedssektor. </a:t>
            </a:r>
          </a:p>
          <a:p>
            <a:pPr marL="285750" indent="-285750">
              <a:buFont typeface="Calibri"/>
              <a:buChar char="-"/>
            </a:pPr>
            <a:endParaRPr lang="da-DK" sz="2000">
              <a:solidFill>
                <a:schemeClr val="tx2"/>
              </a:solidFill>
              <a:ea typeface="+mn-lt"/>
              <a:cs typeface="+mn-lt"/>
            </a:endParaRPr>
          </a:p>
          <a:p>
            <a:pPr marL="285750" indent="-285750">
              <a:buFont typeface="Calibri"/>
              <a:buChar char="-"/>
            </a:pPr>
            <a:r>
              <a:rPr lang="da-DK" sz="2000">
                <a:solidFill>
                  <a:schemeClr val="tx2"/>
                </a:solidFill>
              </a:rPr>
              <a:t>Ældre Sagen i juni 2025 anmodet om foretræde for Folketingets Ældreudvalg, for at fremlægge vores bekymring, samt vores konkrete forslag til en styrket indsats mod omsorgssvigt. </a:t>
            </a:r>
          </a:p>
        </p:txBody>
      </p:sp>
      <p:pic>
        <p:nvPicPr>
          <p:cNvPr id="2052" name="Picture 4" descr="Ældre Sagen Vejle-Jelling">
            <a:extLst>
              <a:ext uri="{FF2B5EF4-FFF2-40B4-BE49-F238E27FC236}">
                <a16:creationId xmlns:a16="http://schemas.microsoft.com/office/drawing/2014/main" id="{62DE2D27-84DF-D2E8-0B15-A7556FA3E6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993" y="2505694"/>
            <a:ext cx="3990963" cy="306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91698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11D543DC-A5F2-7048-2A1A-D4B3EA59452C}"/>
              </a:ext>
            </a:extLst>
          </p:cNvPr>
          <p:cNvSpPr>
            <a:spLocks noGrp="1"/>
          </p:cNvSpPr>
          <p:nvPr>
            <p:ph type="dt" sz="half" idx="10"/>
          </p:nvPr>
        </p:nvSpPr>
        <p:spPr/>
        <p:txBody>
          <a:bodyPr/>
          <a:lstStyle/>
          <a:p>
            <a:fld id="{64571749-1273-4AC7-814C-2DAAF45F35CD}" type="datetime1">
              <a:rPr lang="da-DK" smtClean="0"/>
              <a:t>16-09-2025</a:t>
            </a:fld>
            <a:endParaRPr lang="da-DK"/>
          </a:p>
        </p:txBody>
      </p:sp>
      <p:sp>
        <p:nvSpPr>
          <p:cNvPr id="5" name="Pladsholder til slidenummer 4">
            <a:extLst>
              <a:ext uri="{FF2B5EF4-FFF2-40B4-BE49-F238E27FC236}">
                <a16:creationId xmlns:a16="http://schemas.microsoft.com/office/drawing/2014/main" id="{F2688CB8-481E-620F-34A0-0F479EF1D424}"/>
              </a:ext>
            </a:extLst>
          </p:cNvPr>
          <p:cNvSpPr>
            <a:spLocks noGrp="1"/>
          </p:cNvSpPr>
          <p:nvPr>
            <p:ph type="sldNum" sz="quarter" idx="12"/>
          </p:nvPr>
        </p:nvSpPr>
        <p:spPr/>
        <p:txBody>
          <a:bodyPr/>
          <a:lstStyle/>
          <a:p>
            <a:fld id="{0E8862F4-759C-4937-98C7-CDEB1EE77131}" type="slidenum">
              <a:rPr lang="da-DK" smtClean="0"/>
              <a:pPr/>
              <a:t>11</a:t>
            </a:fld>
            <a:endParaRPr lang="da-DK"/>
          </a:p>
        </p:txBody>
      </p:sp>
      <p:sp>
        <p:nvSpPr>
          <p:cNvPr id="6" name="Titel 5">
            <a:extLst>
              <a:ext uri="{FF2B5EF4-FFF2-40B4-BE49-F238E27FC236}">
                <a16:creationId xmlns:a16="http://schemas.microsoft.com/office/drawing/2014/main" id="{992125F6-1547-7521-CDD3-090FA053900A}"/>
              </a:ext>
            </a:extLst>
          </p:cNvPr>
          <p:cNvSpPr>
            <a:spLocks noGrp="1"/>
          </p:cNvSpPr>
          <p:nvPr>
            <p:ph type="title"/>
          </p:nvPr>
        </p:nvSpPr>
        <p:spPr/>
        <p:txBody>
          <a:bodyPr/>
          <a:lstStyle/>
          <a:p>
            <a:r>
              <a:rPr lang="da-DK" sz="4800"/>
              <a:t>Status på sundhedsreformen</a:t>
            </a:r>
          </a:p>
        </p:txBody>
      </p:sp>
      <p:pic>
        <p:nvPicPr>
          <p:cNvPr id="8" name="Pladsholder til billede 7" descr="Megafon1 med massiv udfyldning">
            <a:extLst>
              <a:ext uri="{FF2B5EF4-FFF2-40B4-BE49-F238E27FC236}">
                <a16:creationId xmlns:a16="http://schemas.microsoft.com/office/drawing/2014/main" id="{92AF3B30-9586-18F2-D306-0018A56BFB8B}"/>
              </a:ext>
            </a:extLst>
          </p:cNvPr>
          <p:cNvPicPr>
            <a:picLocks noGrp="1" noChangeAspect="1"/>
          </p:cNvPicPr>
          <p:nvPr>
            <p:ph type="pic" sz="quarter" idx="13"/>
          </p:nvPr>
        </p:nvPicPr>
        <p:blipFill>
          <a:blip r:embed="rId3">
            <a:extLst>
              <a:ext uri="{96DAC541-7B7A-43D3-8B79-37D633B846F1}">
                <asvg:svgBlip xmlns:asvg="http://schemas.microsoft.com/office/drawing/2016/SVG/main" r:embed="rId4"/>
              </a:ext>
            </a:extLst>
          </a:blip>
          <a:srcRect t="9582" b="9582"/>
          <a:stretch>
            <a:fillRect/>
          </a:stretch>
        </p:blipFill>
        <p:spPr>
          <a:xfrm>
            <a:off x="6234113" y="1677988"/>
            <a:ext cx="5541962" cy="4479925"/>
          </a:xfrm>
          <a:prstGeom prst="rect">
            <a:avLst/>
          </a:prstGeom>
        </p:spPr>
      </p:pic>
      <p:sp>
        <p:nvSpPr>
          <p:cNvPr id="4" name="Pladsholder til indhold 1">
            <a:extLst>
              <a:ext uri="{FF2B5EF4-FFF2-40B4-BE49-F238E27FC236}">
                <a16:creationId xmlns:a16="http://schemas.microsoft.com/office/drawing/2014/main" id="{B7309144-CA86-C7F4-BA34-33B096EBD769}"/>
              </a:ext>
            </a:extLst>
          </p:cNvPr>
          <p:cNvSpPr txBox="1">
            <a:spLocks/>
          </p:cNvSpPr>
          <p:nvPr/>
        </p:nvSpPr>
        <p:spPr>
          <a:xfrm>
            <a:off x="414338" y="1677987"/>
            <a:ext cx="5541962" cy="4479925"/>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Font typeface="IBM Plex Sans" panose="020B0503050203000203" pitchFamily="34" charset="0"/>
              <a:buNone/>
              <a:defRPr sz="1600" kern="1200">
                <a:solidFill>
                  <a:schemeClr val="tx2"/>
                </a:solidFill>
                <a:latin typeface="IBM Plex Sans" panose="020B0503050203000203" pitchFamily="34" charset="0"/>
                <a:ea typeface="+mn-ea"/>
                <a:cs typeface="+mn-cs"/>
              </a:defRPr>
            </a:lvl1pPr>
            <a:lvl2pPr marL="177800" indent="-177800" algn="l" defTabSz="914400" rtl="0" eaLnBrk="1" latinLnBrk="0" hangingPunct="1">
              <a:lnSpc>
                <a:spcPct val="110000"/>
              </a:lnSpc>
              <a:spcBef>
                <a:spcPts val="0"/>
              </a:spcBef>
              <a:buFont typeface="IBM Plex Sans" panose="020B0503050203000203" pitchFamily="34" charset="0"/>
              <a:buChar char="•"/>
              <a:defRPr sz="1600" kern="1200">
                <a:solidFill>
                  <a:schemeClr val="tx2"/>
                </a:solidFill>
                <a:latin typeface="IBM Plex Sans" panose="020B0503050203000203" pitchFamily="34" charset="0"/>
                <a:ea typeface="+mn-ea"/>
                <a:cs typeface="+mn-cs"/>
              </a:defRPr>
            </a:lvl2pPr>
            <a:lvl3pPr marL="425450" indent="-234950" algn="l" defTabSz="914400" rtl="0" eaLnBrk="1" latinLnBrk="0" hangingPunct="1">
              <a:lnSpc>
                <a:spcPct val="110000"/>
              </a:lnSpc>
              <a:spcBef>
                <a:spcPts val="0"/>
              </a:spcBef>
              <a:buFont typeface="IBM Plex Sans" panose="020B0503050203000203" pitchFamily="34" charset="0"/>
              <a:buChar char="–"/>
              <a:defRPr sz="1600" kern="1200">
                <a:solidFill>
                  <a:schemeClr val="tx2"/>
                </a:solidFill>
                <a:latin typeface="IBM Plex Sans" panose="020B0503050203000203" pitchFamily="34" charset="0"/>
                <a:ea typeface="+mn-ea"/>
                <a:cs typeface="+mn-cs"/>
              </a:defRPr>
            </a:lvl3pPr>
            <a:lvl4pPr marL="609600" indent="-158750" algn="l" defTabSz="914400" rtl="0" eaLnBrk="1" latinLnBrk="0" hangingPunct="1">
              <a:lnSpc>
                <a:spcPct val="110000"/>
              </a:lnSpc>
              <a:spcBef>
                <a:spcPts val="0"/>
              </a:spcBef>
              <a:buFont typeface="IBM Plex Sans" panose="020B0503050203000203" pitchFamily="34" charset="0"/>
              <a:buChar char="•"/>
              <a:tabLst>
                <a:tab pos="438150" algn="l"/>
              </a:tabLst>
              <a:defRPr sz="1200" kern="1200">
                <a:solidFill>
                  <a:schemeClr val="tx2"/>
                </a:solidFill>
                <a:latin typeface="IBM Plex Sans" panose="020B0503050203000203" pitchFamily="34" charset="0"/>
                <a:ea typeface="+mn-ea"/>
                <a:cs typeface="+mn-cs"/>
              </a:defRPr>
            </a:lvl4pPr>
            <a:lvl5pPr marL="831850" indent="-203200" algn="l" defTabSz="914400" rtl="0" eaLnBrk="1" latinLnBrk="0" hangingPunct="1">
              <a:lnSpc>
                <a:spcPct val="110000"/>
              </a:lnSpc>
              <a:spcBef>
                <a:spcPts val="0"/>
              </a:spcBef>
              <a:buFont typeface="IBM Plex Sans" panose="020B0503050203000203" pitchFamily="34" charset="0"/>
              <a:buChar char="–"/>
              <a:defRPr sz="1200" kern="1200">
                <a:solidFill>
                  <a:schemeClr val="tx2"/>
                </a:solidFill>
                <a:latin typeface="IBM Plex Sans" panose="020B0503050203000203" pitchFamily="34" charset="0"/>
                <a:ea typeface="+mn-ea"/>
                <a:cs typeface="+mn-cs"/>
              </a:defRPr>
            </a:lvl5pPr>
            <a:lvl6pPr marL="25146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IBM Plex Sans" panose="020B0503050203000203"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da-DK" sz="2000"/>
              <a:t>Høringer og høringssvar på lovpakke II om:</a:t>
            </a:r>
          </a:p>
          <a:p>
            <a:pPr marL="463550" lvl="1" indent="-285750">
              <a:buFont typeface="Arial" panose="020B0604020202020204" pitchFamily="34" charset="0"/>
              <a:buChar char="•"/>
            </a:pPr>
            <a:r>
              <a:rPr lang="da-DK" sz="2000"/>
              <a:t>Opgaveflytning, national sundhedsplan og nærsundhedsplaner</a:t>
            </a:r>
          </a:p>
          <a:p>
            <a:pPr marL="463550" lvl="1" indent="-285750">
              <a:buFont typeface="Arial" panose="020B0604020202020204" pitchFamily="34" charset="0"/>
              <a:buChar char="•"/>
            </a:pPr>
            <a:r>
              <a:rPr lang="da-DK" sz="2000"/>
              <a:t>Digitalisering i sundhedsvæsenet</a:t>
            </a:r>
          </a:p>
          <a:p>
            <a:pPr marL="463550" lvl="1" indent="-285750">
              <a:buFont typeface="Arial" panose="020B0604020202020204" pitchFamily="34" charset="0"/>
              <a:buChar char="•"/>
            </a:pPr>
            <a:r>
              <a:rPr lang="da-DK" sz="2000"/>
              <a:t>Rammerne for almen praksis</a:t>
            </a:r>
          </a:p>
          <a:p>
            <a:pPr marL="285750" indent="-285750">
              <a:buFont typeface="Arial" panose="020B0604020202020204" pitchFamily="34" charset="0"/>
              <a:buChar char="•"/>
            </a:pPr>
            <a:endParaRPr lang="da-DK" sz="2000"/>
          </a:p>
          <a:p>
            <a:pPr marL="285750" indent="-285750">
              <a:buFont typeface="Arial" panose="020B0604020202020204" pitchFamily="34" charset="0"/>
              <a:buChar char="•"/>
            </a:pPr>
            <a:r>
              <a:rPr lang="da-DK" sz="2000"/>
              <a:t>Med i Sundhedsstyrelsens arbejde med faglige oplæg</a:t>
            </a:r>
          </a:p>
          <a:p>
            <a:pPr marL="285750" indent="-285750">
              <a:buFont typeface="Arial" panose="020B0604020202020204" pitchFamily="34" charset="0"/>
              <a:buChar char="•"/>
            </a:pPr>
            <a:r>
              <a:rPr lang="da-DK" sz="2000"/>
              <a:t>Løbende dialog med andre organisationer og politikere om ældre- og sundhedsområdet</a:t>
            </a:r>
          </a:p>
          <a:p>
            <a:pPr marL="285750" indent="-285750">
              <a:buFont typeface="Arial" panose="020B0604020202020204" pitchFamily="34" charset="0"/>
              <a:buChar char="•"/>
            </a:pPr>
            <a:r>
              <a:rPr lang="da-DK" sz="2000"/>
              <a:t>Fik med succes 17 patient- og pårørendeudvalg i stedet for 4</a:t>
            </a:r>
          </a:p>
          <a:p>
            <a:pPr marL="285750" indent="-285750">
              <a:buFont typeface="Arial,Sans-Serif" panose="020B0604020202020204" pitchFamily="34" charset="0"/>
              <a:buChar char="•"/>
            </a:pPr>
            <a:r>
              <a:rPr lang="da-DK" sz="2000">
                <a:latin typeface="IBM Plex Sans"/>
              </a:rPr>
              <a:t>Sundhedspolitisk debat i campus 4.11. </a:t>
            </a:r>
            <a:endParaRPr lang="da-DK" sz="2000"/>
          </a:p>
          <a:p>
            <a:pPr marL="285750" indent="-285750">
              <a:buFont typeface="Arial,Sans-Serif" panose="020B0604020202020204" pitchFamily="34" charset="0"/>
              <a:buChar char="•"/>
            </a:pPr>
            <a:r>
              <a:rPr lang="da-DK" sz="2000">
                <a:latin typeface="IBM Plex Sans"/>
              </a:rPr>
              <a:t>Vælgermøder og ambassadører til RV</a:t>
            </a:r>
            <a:endParaRPr lang="da-DK" sz="2000">
              <a:solidFill>
                <a:srgbClr val="192B37"/>
              </a:solidFill>
            </a:endParaRPr>
          </a:p>
          <a:p>
            <a:pPr marL="285750" indent="-285750">
              <a:buFont typeface="Arial" panose="020B0604020202020204" pitchFamily="34" charset="0"/>
              <a:buChar char="•"/>
            </a:pPr>
            <a:endParaRPr lang="da-DK" sz="2000"/>
          </a:p>
          <a:p>
            <a:endParaRPr lang="da-DK" sz="2000"/>
          </a:p>
        </p:txBody>
      </p:sp>
    </p:spTree>
    <p:extLst>
      <p:ext uri="{BB962C8B-B14F-4D97-AF65-F5344CB8AC3E}">
        <p14:creationId xmlns:p14="http://schemas.microsoft.com/office/powerpoint/2010/main" val="1395436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0EE607-69B4-6E92-C6B4-0B03E83B9BED}"/>
              </a:ext>
            </a:extLst>
          </p:cNvPr>
          <p:cNvSpPr>
            <a:spLocks noGrp="1"/>
          </p:cNvSpPr>
          <p:nvPr>
            <p:ph type="title"/>
          </p:nvPr>
        </p:nvSpPr>
        <p:spPr/>
        <p:txBody>
          <a:bodyPr/>
          <a:lstStyle/>
          <a:p>
            <a:r>
              <a:rPr lang="da-DK"/>
              <a:t>17 nye sundhedsråd fordelt på fire regioner</a:t>
            </a:r>
          </a:p>
        </p:txBody>
      </p:sp>
      <p:sp>
        <p:nvSpPr>
          <p:cNvPr id="3" name="Pladsholder til dato 2">
            <a:extLst>
              <a:ext uri="{FF2B5EF4-FFF2-40B4-BE49-F238E27FC236}">
                <a16:creationId xmlns:a16="http://schemas.microsoft.com/office/drawing/2014/main" id="{B378A855-62D0-4AD2-D62F-9F518A5E0DA4}"/>
              </a:ext>
            </a:extLst>
          </p:cNvPr>
          <p:cNvSpPr>
            <a:spLocks noGrp="1"/>
          </p:cNvSpPr>
          <p:nvPr>
            <p:ph type="dt" sz="half" idx="10"/>
          </p:nvPr>
        </p:nvSpPr>
        <p:spPr/>
        <p:txBody>
          <a:bodyPr/>
          <a:lstStyle/>
          <a:p>
            <a:fld id="{E6209471-929B-4E22-81C0-8748AEC8C96E}" type="datetime1">
              <a:rPr lang="da-DK" smtClean="0"/>
              <a:t>16-09-2025</a:t>
            </a:fld>
            <a:endParaRPr lang="da-DK"/>
          </a:p>
        </p:txBody>
      </p:sp>
      <p:sp>
        <p:nvSpPr>
          <p:cNvPr id="5" name="Pladsholder til slidenummer 4">
            <a:extLst>
              <a:ext uri="{FF2B5EF4-FFF2-40B4-BE49-F238E27FC236}">
                <a16:creationId xmlns:a16="http://schemas.microsoft.com/office/drawing/2014/main" id="{83C87987-858F-CE56-86C6-B566C8554B0A}"/>
              </a:ext>
            </a:extLst>
          </p:cNvPr>
          <p:cNvSpPr>
            <a:spLocks noGrp="1"/>
          </p:cNvSpPr>
          <p:nvPr>
            <p:ph type="sldNum" sz="quarter" idx="12"/>
          </p:nvPr>
        </p:nvSpPr>
        <p:spPr/>
        <p:txBody>
          <a:bodyPr/>
          <a:lstStyle/>
          <a:p>
            <a:fld id="{0E8862F4-759C-4937-98C7-CDEB1EE77131}" type="slidenum">
              <a:rPr lang="da-DK" smtClean="0"/>
              <a:pPr/>
              <a:t>12</a:t>
            </a:fld>
            <a:endParaRPr lang="da-DK"/>
          </a:p>
        </p:txBody>
      </p:sp>
      <p:pic>
        <p:nvPicPr>
          <p:cNvPr id="6" name="Pladsholder til indhold 7">
            <a:extLst>
              <a:ext uri="{FF2B5EF4-FFF2-40B4-BE49-F238E27FC236}">
                <a16:creationId xmlns:a16="http://schemas.microsoft.com/office/drawing/2014/main" id="{71ADEC6B-9308-D078-1640-AF3226AD262B}"/>
              </a:ext>
            </a:extLst>
          </p:cNvPr>
          <p:cNvPicPr>
            <a:picLocks noChangeAspect="1"/>
          </p:cNvPicPr>
          <p:nvPr/>
        </p:nvPicPr>
        <p:blipFill rotWithShape="1">
          <a:blip r:embed="rId3"/>
          <a:srcRect l="38183" t="19921" r="23946" b="23141"/>
          <a:stretch/>
        </p:blipFill>
        <p:spPr bwMode="auto">
          <a:xfrm>
            <a:off x="5912141" y="942134"/>
            <a:ext cx="5908094" cy="5551660"/>
          </a:xfrm>
          <a:prstGeom prst="rect">
            <a:avLst/>
          </a:prstGeom>
          <a:ln>
            <a:noFill/>
          </a:ln>
          <a:extLst>
            <a:ext uri="{53640926-AAD7-44D8-BBD7-CCE9431645EC}">
              <a14:shadowObscured xmlns:a14="http://schemas.microsoft.com/office/drawing/2010/main"/>
            </a:ext>
          </a:extLst>
        </p:spPr>
      </p:pic>
      <p:pic>
        <p:nvPicPr>
          <p:cNvPr id="7" name="Billede 6">
            <a:extLst>
              <a:ext uri="{FF2B5EF4-FFF2-40B4-BE49-F238E27FC236}">
                <a16:creationId xmlns:a16="http://schemas.microsoft.com/office/drawing/2014/main" id="{89E19578-C196-7CA7-973F-6A81120FE18F}"/>
              </a:ext>
            </a:extLst>
          </p:cNvPr>
          <p:cNvPicPr>
            <a:picLocks noChangeAspect="1"/>
          </p:cNvPicPr>
          <p:nvPr/>
        </p:nvPicPr>
        <p:blipFill rotWithShape="1">
          <a:blip r:embed="rId4"/>
          <a:srcRect l="40776" t="21082" r="18033" b="5379"/>
          <a:stretch/>
        </p:blipFill>
        <p:spPr bwMode="auto">
          <a:xfrm>
            <a:off x="497464" y="997029"/>
            <a:ext cx="4876800" cy="544187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91052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indhold 5">
            <a:extLst>
              <a:ext uri="{FF2B5EF4-FFF2-40B4-BE49-F238E27FC236}">
                <a16:creationId xmlns:a16="http://schemas.microsoft.com/office/drawing/2014/main" id="{E7F58A81-60DA-964F-0F4E-C4EDA59156BA}"/>
              </a:ext>
            </a:extLst>
          </p:cNvPr>
          <p:cNvSpPr>
            <a:spLocks noGrp="1"/>
          </p:cNvSpPr>
          <p:nvPr>
            <p:ph sz="half" idx="1"/>
          </p:nvPr>
        </p:nvSpPr>
        <p:spPr>
          <a:xfrm>
            <a:off x="414337" y="1258888"/>
            <a:ext cx="5541962" cy="4479925"/>
          </a:xfrm>
        </p:spPr>
        <p:txBody>
          <a:bodyPr>
            <a:noAutofit/>
          </a:bodyPr>
          <a:lstStyle/>
          <a:p>
            <a:pPr>
              <a:lnSpc>
                <a:spcPct val="100000"/>
              </a:lnSpc>
            </a:pPr>
            <a:r>
              <a:rPr lang="da-DK" sz="2400" b="1"/>
              <a:t>Møde 29. august 2025</a:t>
            </a:r>
          </a:p>
          <a:p>
            <a:pPr>
              <a:lnSpc>
                <a:spcPct val="100000"/>
              </a:lnSpc>
            </a:pPr>
            <a:endParaRPr lang="da-DK" sz="2400"/>
          </a:p>
          <a:p>
            <a:pPr marL="285750" indent="-285750">
              <a:lnSpc>
                <a:spcPct val="100000"/>
              </a:lnSpc>
              <a:buFont typeface="Arial" panose="020B0604020202020204" pitchFamily="34" charset="0"/>
              <a:buChar char="•"/>
            </a:pPr>
            <a:r>
              <a:rPr lang="da-DK" sz="2400"/>
              <a:t>Krav om sundhedsfaglige kompetencer på regionernes sundheds- og omsorgspladser</a:t>
            </a:r>
          </a:p>
          <a:p>
            <a:pPr marL="285750" indent="-285750">
              <a:lnSpc>
                <a:spcPct val="100000"/>
              </a:lnSpc>
              <a:buFont typeface="Arial" panose="020B0604020202020204" pitchFamily="34" charset="0"/>
              <a:buChar char="•"/>
            </a:pPr>
            <a:r>
              <a:rPr lang="da-DK" sz="2400"/>
              <a:t>Klar beskrivelse af kriterier for visitation samt opholds afslutning</a:t>
            </a:r>
          </a:p>
          <a:p>
            <a:pPr marL="285750" indent="-285750">
              <a:lnSpc>
                <a:spcPct val="100000"/>
              </a:lnSpc>
              <a:buFont typeface="Arial" panose="020B0604020202020204" pitchFamily="34" charset="0"/>
              <a:buChar char="•"/>
            </a:pPr>
            <a:r>
              <a:rPr lang="da-DK" sz="2400"/>
              <a:t>Der ses på vederlagsfri medicin</a:t>
            </a:r>
          </a:p>
          <a:p>
            <a:pPr marL="285750" indent="-285750">
              <a:lnSpc>
                <a:spcPct val="100000"/>
              </a:lnSpc>
              <a:buFont typeface="Arial" panose="020B0604020202020204" pitchFamily="34" charset="0"/>
              <a:buChar char="•"/>
            </a:pPr>
            <a:r>
              <a:rPr lang="da-DK" sz="2400"/>
              <a:t>Transport: Politiske forhandlinger forår 2026</a:t>
            </a:r>
          </a:p>
          <a:p>
            <a:pPr marL="285750" indent="-285750">
              <a:lnSpc>
                <a:spcPct val="100000"/>
              </a:lnSpc>
              <a:buFont typeface="Arial" panose="020B0604020202020204" pitchFamily="34" charset="0"/>
              <a:buChar char="•"/>
            </a:pPr>
            <a:r>
              <a:rPr lang="da-DK" sz="2400"/>
              <a:t>Praktiserende læge får mere central rolle ift. demens</a:t>
            </a:r>
          </a:p>
          <a:p>
            <a:pPr marL="285750" indent="-285750">
              <a:lnSpc>
                <a:spcPct val="100000"/>
              </a:lnSpc>
              <a:buFont typeface="Arial" panose="020B0604020202020204" pitchFamily="34" charset="0"/>
              <a:buChar char="•"/>
            </a:pPr>
            <a:r>
              <a:rPr lang="da-DK" sz="2400"/>
              <a:t>Partnerskabsaftaler for at få </a:t>
            </a:r>
            <a:r>
              <a:rPr lang="da-DK" sz="2400" err="1"/>
              <a:t>sosu</a:t>
            </a:r>
            <a:r>
              <a:rPr lang="da-DK" sz="2400"/>
              <a:t>-arbejdskraft fra udlandet</a:t>
            </a:r>
          </a:p>
        </p:txBody>
      </p:sp>
      <p:pic>
        <p:nvPicPr>
          <p:cNvPr id="8" name="Billede 7">
            <a:extLst>
              <a:ext uri="{FF2B5EF4-FFF2-40B4-BE49-F238E27FC236}">
                <a16:creationId xmlns:a16="http://schemas.microsoft.com/office/drawing/2014/main" id="{C95C3460-02C8-B1D5-1D00-F5584173FBDA}"/>
              </a:ext>
            </a:extLst>
          </p:cNvPr>
          <p:cNvPicPr>
            <a:picLocks noChangeAspect="1"/>
          </p:cNvPicPr>
          <p:nvPr/>
        </p:nvPicPr>
        <p:blipFill>
          <a:blip r:embed="rId3"/>
          <a:srcRect l="1892" r="17080"/>
          <a:stretch>
            <a:fillRect/>
          </a:stretch>
        </p:blipFill>
        <p:spPr>
          <a:xfrm>
            <a:off x="5795158" y="1258888"/>
            <a:ext cx="5980917" cy="4899025"/>
          </a:xfrm>
          <a:prstGeom prst="rect">
            <a:avLst/>
          </a:prstGeom>
          <a:noFill/>
        </p:spPr>
      </p:pic>
      <p:sp>
        <p:nvSpPr>
          <p:cNvPr id="3" name="Pladsholder til dato 2">
            <a:extLst>
              <a:ext uri="{FF2B5EF4-FFF2-40B4-BE49-F238E27FC236}">
                <a16:creationId xmlns:a16="http://schemas.microsoft.com/office/drawing/2014/main" id="{4F05579F-7A4A-C51A-9842-AAFF3885FDB0}"/>
              </a:ext>
            </a:extLst>
          </p:cNvPr>
          <p:cNvSpPr>
            <a:spLocks noGrp="1"/>
          </p:cNvSpPr>
          <p:nvPr>
            <p:ph type="dt" sz="half" idx="10"/>
          </p:nvPr>
        </p:nvSpPr>
        <p:spPr>
          <a:xfrm>
            <a:off x="8866188" y="6577013"/>
            <a:ext cx="1939925" cy="273050"/>
          </a:xfrm>
        </p:spPr>
        <p:txBody>
          <a:bodyPr anchor="ctr">
            <a:normAutofit/>
          </a:bodyPr>
          <a:lstStyle/>
          <a:p>
            <a:pPr>
              <a:spcAft>
                <a:spcPts val="600"/>
              </a:spcAft>
            </a:pPr>
            <a:fld id="{F3EF4D5A-4651-4B9C-924F-A1DBD1BE844D}" type="datetime1">
              <a:rPr lang="da-DK" smtClean="0"/>
              <a:pPr>
                <a:spcAft>
                  <a:spcPts val="600"/>
                </a:spcAft>
              </a:pPr>
              <a:t>16-09-2025</a:t>
            </a:fld>
            <a:endParaRPr lang="da-DK"/>
          </a:p>
        </p:txBody>
      </p:sp>
      <p:sp>
        <p:nvSpPr>
          <p:cNvPr id="5" name="Pladsholder til slidenummer 4">
            <a:extLst>
              <a:ext uri="{FF2B5EF4-FFF2-40B4-BE49-F238E27FC236}">
                <a16:creationId xmlns:a16="http://schemas.microsoft.com/office/drawing/2014/main" id="{AB0635DC-45C4-3C58-7670-2F18B583FBBF}"/>
              </a:ext>
            </a:extLst>
          </p:cNvPr>
          <p:cNvSpPr>
            <a:spLocks noGrp="1"/>
          </p:cNvSpPr>
          <p:nvPr>
            <p:ph type="sldNum" sz="quarter" idx="12"/>
          </p:nvPr>
        </p:nvSpPr>
        <p:spPr>
          <a:xfrm>
            <a:off x="11082337" y="6577013"/>
            <a:ext cx="693737" cy="273050"/>
          </a:xfrm>
        </p:spPr>
        <p:txBody>
          <a:bodyPr anchor="ctr">
            <a:normAutofit/>
          </a:bodyPr>
          <a:lstStyle/>
          <a:p>
            <a:pPr>
              <a:spcAft>
                <a:spcPts val="600"/>
              </a:spcAft>
            </a:pPr>
            <a:fld id="{0E8862F4-759C-4937-98C7-CDEB1EE77131}" type="slidenum">
              <a:rPr lang="da-DK" smtClean="0"/>
              <a:pPr>
                <a:spcAft>
                  <a:spcPts val="600"/>
                </a:spcAft>
              </a:pPr>
              <a:t>13</a:t>
            </a:fld>
            <a:endParaRPr lang="da-DK"/>
          </a:p>
        </p:txBody>
      </p:sp>
      <p:sp>
        <p:nvSpPr>
          <p:cNvPr id="2" name="Titel 1">
            <a:extLst>
              <a:ext uri="{FF2B5EF4-FFF2-40B4-BE49-F238E27FC236}">
                <a16:creationId xmlns:a16="http://schemas.microsoft.com/office/drawing/2014/main" id="{FD1F8AB7-177A-880E-CB12-1FADAE2377DB}"/>
              </a:ext>
            </a:extLst>
          </p:cNvPr>
          <p:cNvSpPr>
            <a:spLocks noGrp="1"/>
          </p:cNvSpPr>
          <p:nvPr>
            <p:ph type="title"/>
          </p:nvPr>
        </p:nvSpPr>
        <p:spPr>
          <a:xfrm>
            <a:off x="414337" y="419100"/>
            <a:ext cx="11361737" cy="839788"/>
          </a:xfrm>
        </p:spPr>
        <p:txBody>
          <a:bodyPr anchor="t">
            <a:normAutofit/>
          </a:bodyPr>
          <a:lstStyle/>
          <a:p>
            <a:r>
              <a:rPr lang="da-DK"/>
              <a:t>Sundhedsministeren lytter til Ældre Sagen</a:t>
            </a:r>
          </a:p>
        </p:txBody>
      </p:sp>
    </p:spTree>
    <p:extLst>
      <p:ext uri="{BB962C8B-B14F-4D97-AF65-F5344CB8AC3E}">
        <p14:creationId xmlns:p14="http://schemas.microsoft.com/office/powerpoint/2010/main" val="416673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a:extLst>
              <a:ext uri="{FF2B5EF4-FFF2-40B4-BE49-F238E27FC236}">
                <a16:creationId xmlns:a16="http://schemas.microsoft.com/office/drawing/2014/main" id="{E8E2A5E9-5962-05C9-5968-C7444988DF14}"/>
              </a:ext>
            </a:extLst>
          </p:cNvPr>
          <p:cNvSpPr>
            <a:spLocks noGrp="1"/>
          </p:cNvSpPr>
          <p:nvPr>
            <p:ph sz="half" idx="1"/>
          </p:nvPr>
        </p:nvSpPr>
        <p:spPr>
          <a:xfrm>
            <a:off x="414338" y="1397001"/>
            <a:ext cx="4850389" cy="4916968"/>
          </a:xfrm>
        </p:spPr>
        <p:txBody>
          <a:bodyPr/>
          <a:lstStyle/>
          <a:p>
            <a:r>
              <a:rPr lang="da-DK" b="1"/>
              <a:t>Ældre Sagens gennemgang af kommunernes regnskaber viser:</a:t>
            </a:r>
          </a:p>
          <a:p>
            <a:pPr lvl="0"/>
            <a:endParaRPr lang="da-DK"/>
          </a:p>
          <a:p>
            <a:pPr marL="285750" lvl="0" indent="-285750">
              <a:buFont typeface="Arial" panose="020B0604020202020204" pitchFamily="34" charset="0"/>
              <a:buChar char="•"/>
            </a:pPr>
            <a:r>
              <a:rPr lang="da-DK" u="sng">
                <a:effectLst/>
                <a:latin typeface="IBM Plex Sans" panose="020B0503050203000203" pitchFamily="34" charset="0"/>
                <a:ea typeface="IBM Plex Sans" panose="020B0503050203000203" pitchFamily="34" charset="0"/>
                <a:cs typeface="Times New Roman" panose="02020603050405020304" pitchFamily="18" charset="0"/>
              </a:rPr>
              <a:t>Ældreudgifterne pr. 80</a:t>
            </a:r>
            <a:r>
              <a:rPr lang="da-DK" u="sng">
                <a:effectLst/>
                <a:latin typeface="IBM Plex Sans" panose="020B0503050203000203" pitchFamily="34" charset="0"/>
                <a:ea typeface="IBM Plex Sans" panose="020B0503050203000203" pitchFamily="34" charset="0"/>
                <a:cs typeface="IBM Plex Sans" panose="020B0503050203000203" pitchFamily="34" charset="0"/>
              </a:rPr>
              <a:t> + årig faldt i 94 ud af 98 </a:t>
            </a:r>
            <a:r>
              <a:rPr lang="da-DK">
                <a:effectLst/>
                <a:latin typeface="IBM Plex Sans" panose="020B0503050203000203" pitchFamily="34" charset="0"/>
                <a:ea typeface="IBM Plex Sans" panose="020B0503050203000203" pitchFamily="34" charset="0"/>
                <a:cs typeface="IBM Plex Sans" panose="020B0503050203000203" pitchFamily="34" charset="0"/>
              </a:rPr>
              <a:t>kommuner fra 2023 til 2024.</a:t>
            </a:r>
            <a:br>
              <a:rPr lang="da-DK">
                <a:effectLst/>
                <a:latin typeface="IBM Plex Sans" panose="020B0503050203000203" pitchFamily="34" charset="0"/>
                <a:ea typeface="IBM Plex Sans" panose="020B0503050203000203" pitchFamily="34" charset="0"/>
                <a:cs typeface="IBM Plex Sans" panose="020B0503050203000203" pitchFamily="34" charset="0"/>
              </a:rPr>
            </a:br>
            <a:r>
              <a:rPr lang="da-DK">
                <a:effectLst/>
                <a:latin typeface="IBM Plex Sans" panose="020B0503050203000203" pitchFamily="34" charset="0"/>
                <a:ea typeface="IBM Plex Sans" panose="020B0503050203000203" pitchFamily="34" charset="0"/>
                <a:cs typeface="IBM Plex Sans" panose="020B0503050203000203" pitchFamily="34" charset="0"/>
              </a:rPr>
              <a:t> </a:t>
            </a:r>
            <a:endParaRPr lang="da-DK">
              <a:effectLst/>
              <a:latin typeface="IBM Plex Sans" panose="020B0503050203000203" pitchFamily="34" charset="0"/>
              <a:ea typeface="IBM Plex Sans" panose="020B0503050203000203" pitchFamily="34" charset="0"/>
              <a:cs typeface="Times New Roman" panose="02020603050405020304" pitchFamily="18" charset="0"/>
            </a:endParaRPr>
          </a:p>
          <a:p>
            <a:pPr marL="285750" indent="-285750">
              <a:buFont typeface="Arial" panose="020B0604020202020204" pitchFamily="34" charset="0"/>
              <a:buChar char="•"/>
            </a:pPr>
            <a:r>
              <a:rPr lang="da-DK">
                <a:effectLst/>
                <a:latin typeface="IBM Plex Sans" panose="020B0503050203000203" pitchFamily="34" charset="0"/>
                <a:ea typeface="IBM Plex Sans" panose="020B0503050203000203" pitchFamily="34" charset="0"/>
                <a:cs typeface="IBM Plex Sans" panose="020B0503050203000203" pitchFamily="34" charset="0"/>
              </a:rPr>
              <a:t>Set i forhold til udviklingen i kommunens samlede udgifter pr. borger faldt ældreudgifterne pr. 80+ årig i 92 ud af 98 kommuner, jf. kort. </a:t>
            </a:r>
            <a:endParaRPr lang="da-DK"/>
          </a:p>
          <a:p>
            <a:endParaRPr lang="da-DK"/>
          </a:p>
          <a:p>
            <a:r>
              <a:rPr lang="da-DK"/>
              <a:t>Klart budskab til kommunalpolitikerne: Prioriter ældreområdet i budgetforhandlingerne for 2026!</a:t>
            </a:r>
          </a:p>
          <a:p>
            <a:endParaRPr lang="da-DK"/>
          </a:p>
          <a:p>
            <a:r>
              <a:rPr lang="da-DK"/>
              <a:t>Analysen er tilgængelig på Ældre Sagens hjemmeside og kan bruges i forbindelse med KV25.</a:t>
            </a:r>
          </a:p>
          <a:p>
            <a:endParaRPr lang="da-DK"/>
          </a:p>
          <a:p>
            <a:endParaRPr lang="da-DK"/>
          </a:p>
        </p:txBody>
      </p:sp>
      <p:sp>
        <p:nvSpPr>
          <p:cNvPr id="3" name="Pladsholder til dato 2">
            <a:extLst>
              <a:ext uri="{FF2B5EF4-FFF2-40B4-BE49-F238E27FC236}">
                <a16:creationId xmlns:a16="http://schemas.microsoft.com/office/drawing/2014/main" id="{B378A855-62D0-4AD2-D62F-9F518A5E0DA4}"/>
              </a:ext>
            </a:extLst>
          </p:cNvPr>
          <p:cNvSpPr>
            <a:spLocks noGrp="1"/>
          </p:cNvSpPr>
          <p:nvPr>
            <p:ph type="dt" sz="half" idx="10"/>
          </p:nvPr>
        </p:nvSpPr>
        <p:spPr/>
        <p:txBody>
          <a:bodyPr/>
          <a:lstStyle/>
          <a:p>
            <a:fld id="{E6209471-929B-4E22-81C0-8748AEC8C96E}" type="datetime1">
              <a:rPr lang="da-DK" smtClean="0"/>
              <a:t>16-09-2025</a:t>
            </a:fld>
            <a:endParaRPr lang="da-DK"/>
          </a:p>
        </p:txBody>
      </p:sp>
      <p:sp>
        <p:nvSpPr>
          <p:cNvPr id="4" name="Pladsholder til sidefod 3">
            <a:extLst>
              <a:ext uri="{FF2B5EF4-FFF2-40B4-BE49-F238E27FC236}">
                <a16:creationId xmlns:a16="http://schemas.microsoft.com/office/drawing/2014/main" id="{344D0692-9B5F-9E83-7F48-D03157243FCC}"/>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3C87987-858F-CE56-86C6-B566C8554B0A}"/>
              </a:ext>
            </a:extLst>
          </p:cNvPr>
          <p:cNvSpPr>
            <a:spLocks noGrp="1"/>
          </p:cNvSpPr>
          <p:nvPr>
            <p:ph type="sldNum" sz="quarter" idx="12"/>
          </p:nvPr>
        </p:nvSpPr>
        <p:spPr/>
        <p:txBody>
          <a:bodyPr/>
          <a:lstStyle/>
          <a:p>
            <a:fld id="{0E8862F4-759C-4937-98C7-CDEB1EE77131}" type="slidenum">
              <a:rPr lang="da-DK" smtClean="0"/>
              <a:pPr/>
              <a:t>14</a:t>
            </a:fld>
            <a:endParaRPr lang="da-DK"/>
          </a:p>
        </p:txBody>
      </p:sp>
      <p:sp>
        <p:nvSpPr>
          <p:cNvPr id="6" name="Titel 5">
            <a:extLst>
              <a:ext uri="{FF2B5EF4-FFF2-40B4-BE49-F238E27FC236}">
                <a16:creationId xmlns:a16="http://schemas.microsoft.com/office/drawing/2014/main" id="{EC7F7F01-A84A-4958-4803-8BF82EFCF913}"/>
              </a:ext>
            </a:extLst>
          </p:cNvPr>
          <p:cNvSpPr>
            <a:spLocks noGrp="1"/>
          </p:cNvSpPr>
          <p:nvPr>
            <p:ph type="title"/>
          </p:nvPr>
        </p:nvSpPr>
        <p:spPr/>
        <p:txBody>
          <a:bodyPr/>
          <a:lstStyle/>
          <a:p>
            <a:r>
              <a:rPr lang="da-DK"/>
              <a:t>92 ud af 98 kommuner nedprioriterede ældreområdet i 2024</a:t>
            </a:r>
          </a:p>
        </p:txBody>
      </p:sp>
      <p:pic>
        <p:nvPicPr>
          <p:cNvPr id="12" name="Pladsholder til billede 11">
            <a:extLst>
              <a:ext uri="{FF2B5EF4-FFF2-40B4-BE49-F238E27FC236}">
                <a16:creationId xmlns:a16="http://schemas.microsoft.com/office/drawing/2014/main" id="{1FD3A17B-801C-1088-D5B7-A2A0825E5CFA}"/>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868" r="1868"/>
          <a:stretch>
            <a:fillRect/>
          </a:stretch>
        </p:blipFill>
        <p:spPr bwMode="auto">
          <a:xfrm>
            <a:off x="5264727" y="895541"/>
            <a:ext cx="7552022" cy="5549950"/>
          </a:xfrm>
          <a:prstGeom prst="rect">
            <a:avLst/>
          </a:prstGeom>
          <a:noFill/>
          <a:ln>
            <a:noFill/>
          </a:ln>
        </p:spPr>
      </p:pic>
      <p:sp>
        <p:nvSpPr>
          <p:cNvPr id="13" name="Tekstfelt 12">
            <a:extLst>
              <a:ext uri="{FF2B5EF4-FFF2-40B4-BE49-F238E27FC236}">
                <a16:creationId xmlns:a16="http://schemas.microsoft.com/office/drawing/2014/main" id="{697261E5-A71F-4DB3-C0A2-9C217E1A4260}"/>
              </a:ext>
            </a:extLst>
          </p:cNvPr>
          <p:cNvSpPr txBox="1"/>
          <p:nvPr/>
        </p:nvSpPr>
        <p:spPr>
          <a:xfrm>
            <a:off x="5660545" y="1390410"/>
            <a:ext cx="6141892" cy="561974"/>
          </a:xfrm>
          <a:prstGeom prst="rect">
            <a:avLst/>
          </a:prstGeom>
          <a:noFill/>
        </p:spPr>
        <p:txBody>
          <a:bodyPr wrap="square" lIns="0" tIns="0" rIns="0" bIns="0" rtlCol="0">
            <a:noAutofit/>
          </a:bodyPr>
          <a:lstStyle/>
          <a:p>
            <a:pPr algn="l"/>
            <a:endParaRPr lang="da-DK" sz="1600" err="1">
              <a:solidFill>
                <a:schemeClr val="tx2"/>
              </a:solidFill>
            </a:endParaRPr>
          </a:p>
        </p:txBody>
      </p:sp>
    </p:spTree>
    <p:extLst>
      <p:ext uri="{BB962C8B-B14F-4D97-AF65-F5344CB8AC3E}">
        <p14:creationId xmlns:p14="http://schemas.microsoft.com/office/powerpoint/2010/main" val="335777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FA4DF-FC59-42F4-4E14-3E3118E31562}"/>
            </a:ext>
          </a:extLst>
        </p:cNvPr>
        <p:cNvGrpSpPr/>
        <p:nvPr/>
      </p:nvGrpSpPr>
      <p:grpSpPr>
        <a:xfrm>
          <a:off x="0" y="0"/>
          <a:ext cx="0" cy="0"/>
          <a:chOff x="0" y="0"/>
          <a:chExt cx="0" cy="0"/>
        </a:xfrm>
      </p:grpSpPr>
      <p:pic>
        <p:nvPicPr>
          <p:cNvPr id="9" name="Billede 8" descr="Et billede, der indeholder tekst, design&#10;&#10;AI-genereret indhold kan være ukorrekt.">
            <a:extLst>
              <a:ext uri="{FF2B5EF4-FFF2-40B4-BE49-F238E27FC236}">
                <a16:creationId xmlns:a16="http://schemas.microsoft.com/office/drawing/2014/main" id="{53515D09-8BB9-5C13-5CFD-14BE929F28AC}"/>
              </a:ext>
            </a:extLst>
          </p:cNvPr>
          <p:cNvPicPr>
            <a:picLocks noChangeAspect="1"/>
          </p:cNvPicPr>
          <p:nvPr/>
        </p:nvPicPr>
        <p:blipFill>
          <a:blip r:embed="rId3"/>
          <a:stretch>
            <a:fillRect/>
          </a:stretch>
        </p:blipFill>
        <p:spPr>
          <a:xfrm>
            <a:off x="72736" y="905455"/>
            <a:ext cx="4705350" cy="2239887"/>
          </a:xfrm>
          <a:prstGeom prst="rect">
            <a:avLst/>
          </a:prstGeom>
        </p:spPr>
      </p:pic>
      <p:sp>
        <p:nvSpPr>
          <p:cNvPr id="2" name="Titel 1">
            <a:extLst>
              <a:ext uri="{FF2B5EF4-FFF2-40B4-BE49-F238E27FC236}">
                <a16:creationId xmlns:a16="http://schemas.microsoft.com/office/drawing/2014/main" id="{0F818DA9-03B4-4C9F-0409-56356A1FC833}"/>
              </a:ext>
            </a:extLst>
          </p:cNvPr>
          <p:cNvSpPr>
            <a:spLocks noGrp="1"/>
          </p:cNvSpPr>
          <p:nvPr>
            <p:ph type="title"/>
          </p:nvPr>
        </p:nvSpPr>
        <p:spPr>
          <a:xfrm>
            <a:off x="414337" y="419100"/>
            <a:ext cx="11361737" cy="645664"/>
          </a:xfrm>
        </p:spPr>
        <p:txBody>
          <a:bodyPr/>
          <a:lstStyle/>
          <a:p>
            <a:r>
              <a:rPr lang="da-DK" sz="2400"/>
              <a:t>Flytning af udbetalingen af ældrechecken fra 30. januar 2026 til 30. april 2026</a:t>
            </a:r>
          </a:p>
        </p:txBody>
      </p:sp>
      <p:sp>
        <p:nvSpPr>
          <p:cNvPr id="3" name="Pladsholder til dato 2">
            <a:extLst>
              <a:ext uri="{FF2B5EF4-FFF2-40B4-BE49-F238E27FC236}">
                <a16:creationId xmlns:a16="http://schemas.microsoft.com/office/drawing/2014/main" id="{7B567AE0-42D9-363C-2DC6-2853BE124022}"/>
              </a:ext>
            </a:extLst>
          </p:cNvPr>
          <p:cNvSpPr>
            <a:spLocks noGrp="1"/>
          </p:cNvSpPr>
          <p:nvPr>
            <p:ph type="dt" sz="half" idx="10"/>
          </p:nvPr>
        </p:nvSpPr>
        <p:spPr/>
        <p:txBody>
          <a:bodyPr/>
          <a:lstStyle/>
          <a:p>
            <a:fld id="{E6209471-929B-4E22-81C0-8748AEC8C96E}" type="datetime1">
              <a:rPr lang="da-DK" smtClean="0"/>
              <a:t>16-09-2025</a:t>
            </a:fld>
            <a:endParaRPr lang="da-DK"/>
          </a:p>
        </p:txBody>
      </p:sp>
      <p:sp>
        <p:nvSpPr>
          <p:cNvPr id="4" name="Pladsholder til sidefod 3">
            <a:extLst>
              <a:ext uri="{FF2B5EF4-FFF2-40B4-BE49-F238E27FC236}">
                <a16:creationId xmlns:a16="http://schemas.microsoft.com/office/drawing/2014/main" id="{6B431921-4001-C9E6-2643-A8B8809E4485}"/>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EA55510-9C4B-1BF7-CBD5-B0F0A4230DAD}"/>
              </a:ext>
            </a:extLst>
          </p:cNvPr>
          <p:cNvSpPr>
            <a:spLocks noGrp="1"/>
          </p:cNvSpPr>
          <p:nvPr>
            <p:ph type="sldNum" sz="quarter" idx="12"/>
          </p:nvPr>
        </p:nvSpPr>
        <p:spPr/>
        <p:txBody>
          <a:bodyPr/>
          <a:lstStyle/>
          <a:p>
            <a:fld id="{0E8862F4-759C-4937-98C7-CDEB1EE77131}" type="slidenum">
              <a:rPr lang="da-DK" smtClean="0"/>
              <a:pPr/>
              <a:t>15</a:t>
            </a:fld>
            <a:endParaRPr lang="da-DK"/>
          </a:p>
        </p:txBody>
      </p:sp>
      <p:sp>
        <p:nvSpPr>
          <p:cNvPr id="16" name="Content Placeholder 15">
            <a:extLst>
              <a:ext uri="{FF2B5EF4-FFF2-40B4-BE49-F238E27FC236}">
                <a16:creationId xmlns:a16="http://schemas.microsoft.com/office/drawing/2014/main" id="{51E1F2AE-1B5D-4554-0595-7C247A859BFF}"/>
              </a:ext>
            </a:extLst>
          </p:cNvPr>
          <p:cNvSpPr>
            <a:spLocks noGrp="1"/>
          </p:cNvSpPr>
          <p:nvPr>
            <p:ph sz="quarter" idx="13"/>
          </p:nvPr>
        </p:nvSpPr>
        <p:spPr>
          <a:xfrm>
            <a:off x="5118265" y="905455"/>
            <a:ext cx="6852062" cy="3926169"/>
          </a:xfrm>
        </p:spPr>
        <p:txBody>
          <a:bodyPr vert="horz" lIns="0" tIns="0" rIns="0" bIns="0" rtlCol="0" anchor="t">
            <a:noAutofit/>
          </a:bodyPr>
          <a:lstStyle/>
          <a:p>
            <a:r>
              <a:rPr lang="da-DK" sz="1700" b="1">
                <a:latin typeface="IBM Plex Sans"/>
              </a:rPr>
              <a:t>Hvad mener Ældre Sagen </a:t>
            </a:r>
            <a:endParaRPr lang="da-DK" sz="1700" b="1"/>
          </a:p>
          <a:p>
            <a:pPr marL="285750" indent="-285750">
              <a:buFont typeface="Arial" panose="020B0503050203000203" pitchFamily="34" charset="0"/>
              <a:buChar char="•"/>
            </a:pPr>
            <a:r>
              <a:rPr lang="da-DK" sz="1700">
                <a:latin typeface="IBM Plex Sans"/>
              </a:rPr>
              <a:t>Vi er imod forslaget, der efter vores vurdering vil betyde, at ca. 50.000 pensionister vil få svært ved at betale deres regninger i januar </a:t>
            </a:r>
            <a:endParaRPr lang="da-DK" sz="1700"/>
          </a:p>
          <a:p>
            <a:pPr marL="285750" indent="-285750">
              <a:buFont typeface="Arial" panose="020B0503050203000203" pitchFamily="34" charset="0"/>
              <a:buChar char="•"/>
            </a:pPr>
            <a:r>
              <a:rPr lang="da-DK" sz="1700">
                <a:latin typeface="IBM Plex Sans"/>
              </a:rPr>
              <a:t>Vi foreslår at forslaget udskydes og at udbetaling af ældrecheck rykkes en måned frem, så den fremover udbetales i december (dec. 26 i stedet for jan. 27)</a:t>
            </a:r>
          </a:p>
          <a:p>
            <a:pPr marL="285750" indent="-285750">
              <a:buFont typeface="Arial" panose="020B0503050203000203" pitchFamily="34" charset="0"/>
              <a:buChar char="•"/>
            </a:pPr>
            <a:r>
              <a:rPr lang="da-DK" sz="1700">
                <a:latin typeface="IBM Plex Sans"/>
              </a:rPr>
              <a:t>Som minimum bør der etableres en låneordning for dem med behov</a:t>
            </a:r>
          </a:p>
          <a:p>
            <a:r>
              <a:rPr lang="da-DK" sz="1700" b="1">
                <a:latin typeface="IBM Plex Sans"/>
              </a:rPr>
              <a:t>Hvad gør Ældre Sagen </a:t>
            </a:r>
            <a:endParaRPr lang="da-DK" sz="1700" b="1"/>
          </a:p>
          <a:p>
            <a:pPr marL="285750" indent="-285750">
              <a:buFont typeface="Arial" panose="020B0503050203000203" pitchFamily="34" charset="0"/>
              <a:buChar char="•"/>
            </a:pPr>
            <a:r>
              <a:rPr lang="da-DK" sz="1700">
                <a:latin typeface="IBM Plex Sans"/>
              </a:rPr>
              <a:t>Vi har taget afstand fra forslaget i høringssvar. </a:t>
            </a:r>
            <a:endParaRPr lang="da-DK" sz="1700"/>
          </a:p>
          <a:p>
            <a:pPr marL="285750" indent="-285750">
              <a:buFont typeface="Arial" panose="020B0503050203000203" pitchFamily="34" charset="0"/>
              <a:buChar char="•"/>
            </a:pPr>
            <a:r>
              <a:rPr lang="da-DK" sz="1700">
                <a:latin typeface="IBM Plex Sans"/>
              </a:rPr>
              <a:t>Vi har været i dialog med beskæftigelsesministeriet.</a:t>
            </a:r>
          </a:p>
          <a:p>
            <a:pPr marL="285750" indent="-285750">
              <a:buFont typeface="Arial" panose="020B0503050203000203" pitchFamily="34" charset="0"/>
              <a:buChar char="•"/>
            </a:pPr>
            <a:r>
              <a:rPr lang="da-DK" sz="1700">
                <a:latin typeface="IBM Plex Sans"/>
              </a:rPr>
              <a:t>Vi er i dialog med politikere i oppositionen. </a:t>
            </a:r>
            <a:endParaRPr lang="da-DK" sz="1700"/>
          </a:p>
          <a:p>
            <a:pPr marL="285750" indent="-285750">
              <a:buFont typeface="Arial" panose="020B0503050203000203" pitchFamily="34" charset="0"/>
              <a:buChar char="•"/>
            </a:pPr>
            <a:r>
              <a:rPr lang="da-DK" sz="1700">
                <a:latin typeface="IBM Plex Sans"/>
              </a:rPr>
              <a:t>Vi arbejder for at få pressen til at tage sagen op. </a:t>
            </a:r>
            <a:endParaRPr lang="da-DK" sz="1700"/>
          </a:p>
        </p:txBody>
      </p:sp>
      <p:sp>
        <p:nvSpPr>
          <p:cNvPr id="6" name="Tekstfelt 5">
            <a:extLst>
              <a:ext uri="{FF2B5EF4-FFF2-40B4-BE49-F238E27FC236}">
                <a16:creationId xmlns:a16="http://schemas.microsoft.com/office/drawing/2014/main" id="{6D2F95DD-7F8E-AE54-6AA5-45B492A35F9A}"/>
              </a:ext>
            </a:extLst>
          </p:cNvPr>
          <p:cNvSpPr txBox="1"/>
          <p:nvPr/>
        </p:nvSpPr>
        <p:spPr>
          <a:xfrm>
            <a:off x="416170" y="6336323"/>
            <a:ext cx="4911969"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a-DK" sz="1000" i="1">
                <a:solidFill>
                  <a:schemeClr val="tx2"/>
                </a:solidFill>
              </a:rPr>
              <a:t>Folkepension i januar måned 2026 (Økonomiministeriets familietypemodel)</a:t>
            </a:r>
          </a:p>
        </p:txBody>
      </p:sp>
    </p:spTree>
    <p:extLst>
      <p:ext uri="{BB962C8B-B14F-4D97-AF65-F5344CB8AC3E}">
        <p14:creationId xmlns:p14="http://schemas.microsoft.com/office/powerpoint/2010/main" val="946992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dsholder til indhold 8">
            <a:extLst>
              <a:ext uri="{FF2B5EF4-FFF2-40B4-BE49-F238E27FC236}">
                <a16:creationId xmlns:a16="http://schemas.microsoft.com/office/drawing/2014/main" id="{E8EC6874-BAC0-C5F4-334B-DDD1477B477A}"/>
              </a:ext>
            </a:extLst>
          </p:cNvPr>
          <p:cNvSpPr>
            <a:spLocks noGrp="1"/>
          </p:cNvSpPr>
          <p:nvPr>
            <p:ph sz="half" idx="1"/>
          </p:nvPr>
        </p:nvSpPr>
        <p:spPr>
          <a:xfrm>
            <a:off x="344486" y="1582147"/>
            <a:ext cx="5331919" cy="4511748"/>
          </a:xfrm>
        </p:spPr>
        <p:txBody>
          <a:bodyPr/>
          <a:lstStyle/>
          <a:p>
            <a:pPr algn="l" rtl="0" fontAlgn="base"/>
            <a:r>
              <a:rPr lang="da-DK" sz="1800" b="0" i="0">
                <a:solidFill>
                  <a:srgbClr val="000000"/>
                </a:solidFill>
                <a:effectLst/>
                <a:latin typeface="IBM Plex Sans" panose="020B0503050203000203" pitchFamily="34" charset="0"/>
              </a:rPr>
              <a:t>Vi får mange henvendelser om, at fødevarepriserne presser privatøkonomien. Pensionisterne er en af de samfundsgrupper, der rammes hårdest af inflationen.</a:t>
            </a:r>
          </a:p>
          <a:p>
            <a:pPr algn="l" rtl="0" fontAlgn="base"/>
            <a:endParaRPr lang="da-DK" sz="1800">
              <a:solidFill>
                <a:srgbClr val="000000"/>
              </a:solidFill>
            </a:endParaRPr>
          </a:p>
          <a:p>
            <a:pPr algn="l" rtl="0" fontAlgn="base"/>
            <a:r>
              <a:rPr lang="da-DK" sz="1800" b="0" i="0">
                <a:solidFill>
                  <a:srgbClr val="000000"/>
                </a:solidFill>
                <a:effectLst/>
                <a:latin typeface="IBM Plex Sans" panose="020B0503050203000203" pitchFamily="34" charset="0"/>
              </a:rPr>
              <a:t>Ældre Sagen i fælles opråb med Forbrugerrådet og FH </a:t>
            </a:r>
            <a:endParaRPr lang="da-DK" sz="1800">
              <a:solidFill>
                <a:srgbClr val="000000"/>
              </a:solidFill>
            </a:endParaRPr>
          </a:p>
          <a:p>
            <a:pPr algn="l" rtl="0" fontAlgn="base"/>
            <a:endParaRPr lang="da-DK" sz="1800" b="0" i="0">
              <a:solidFill>
                <a:srgbClr val="000000"/>
              </a:solidFill>
              <a:effectLst/>
              <a:latin typeface="IBM Plex Sans" panose="020B0503050203000203" pitchFamily="34" charset="0"/>
            </a:endParaRPr>
          </a:p>
          <a:p>
            <a:pPr fontAlgn="base">
              <a:buFont typeface="Arial" panose="020B0604020202020204" pitchFamily="34" charset="0"/>
              <a:buChar char="•"/>
            </a:pPr>
            <a:endParaRPr lang="da-DK" sz="1800" b="0" i="0">
              <a:solidFill>
                <a:srgbClr val="000000"/>
              </a:solidFill>
              <a:effectLst/>
              <a:latin typeface="IBM Plex Sans" panose="020B0503050203000203" pitchFamily="34" charset="0"/>
            </a:endParaRPr>
          </a:p>
          <a:p>
            <a:br>
              <a:rPr lang="da-DK" sz="1800"/>
            </a:br>
            <a:endParaRPr lang="da-DK" sz="1800" b="0" i="0">
              <a:solidFill>
                <a:srgbClr val="000000"/>
              </a:solidFill>
              <a:effectLst/>
              <a:latin typeface="IBM Plex Sans" panose="020B0503050203000203" pitchFamily="34" charset="0"/>
            </a:endParaRPr>
          </a:p>
          <a:p>
            <a:pPr fontAlgn="base">
              <a:buFont typeface="Arial" panose="020B0604020202020204" pitchFamily="34" charset="0"/>
              <a:buChar char="•"/>
            </a:pPr>
            <a:endParaRPr lang="da-DK" sz="1800">
              <a:solidFill>
                <a:srgbClr val="000000"/>
              </a:solidFill>
            </a:endParaRPr>
          </a:p>
          <a:p>
            <a:pPr fontAlgn="base">
              <a:buFont typeface="Arial" panose="020B0604020202020204" pitchFamily="34" charset="0"/>
              <a:buChar char="•"/>
            </a:pPr>
            <a:endParaRPr lang="da-DK" sz="1800" b="0" i="0">
              <a:solidFill>
                <a:srgbClr val="000000"/>
              </a:solidFill>
              <a:effectLst/>
              <a:latin typeface="IBM Plex Sans" panose="020B0503050203000203" pitchFamily="34" charset="0"/>
            </a:endParaRPr>
          </a:p>
          <a:p>
            <a:endParaRPr lang="da-DK" sz="1800"/>
          </a:p>
        </p:txBody>
      </p:sp>
      <p:sp>
        <p:nvSpPr>
          <p:cNvPr id="4" name="Pladsholder til dato 3">
            <a:extLst>
              <a:ext uri="{FF2B5EF4-FFF2-40B4-BE49-F238E27FC236}">
                <a16:creationId xmlns:a16="http://schemas.microsoft.com/office/drawing/2014/main" id="{D2B71108-54F6-D9EE-61D7-0C772BF5BCDE}"/>
              </a:ext>
            </a:extLst>
          </p:cNvPr>
          <p:cNvSpPr>
            <a:spLocks noGrp="1"/>
          </p:cNvSpPr>
          <p:nvPr>
            <p:ph type="dt" sz="half" idx="10"/>
          </p:nvPr>
        </p:nvSpPr>
        <p:spPr/>
        <p:txBody>
          <a:bodyPr/>
          <a:lstStyle/>
          <a:p>
            <a:fld id="{19D909C2-3D1A-4D02-8F8B-D54A969E2911}" type="datetime1">
              <a:rPr lang="da-DK" smtClean="0"/>
              <a:t>16-09-2025</a:t>
            </a:fld>
            <a:endParaRPr lang="da-DK"/>
          </a:p>
        </p:txBody>
      </p:sp>
      <p:sp>
        <p:nvSpPr>
          <p:cNvPr id="6" name="Pladsholder til slidenummer 5">
            <a:extLst>
              <a:ext uri="{FF2B5EF4-FFF2-40B4-BE49-F238E27FC236}">
                <a16:creationId xmlns:a16="http://schemas.microsoft.com/office/drawing/2014/main" id="{F1F4A83A-B930-F006-DCA0-140C86736904}"/>
              </a:ext>
            </a:extLst>
          </p:cNvPr>
          <p:cNvSpPr>
            <a:spLocks noGrp="1"/>
          </p:cNvSpPr>
          <p:nvPr>
            <p:ph type="sldNum" sz="quarter" idx="12"/>
          </p:nvPr>
        </p:nvSpPr>
        <p:spPr/>
        <p:txBody>
          <a:bodyPr/>
          <a:lstStyle/>
          <a:p>
            <a:fld id="{0E8862F4-759C-4937-98C7-CDEB1EE77131}" type="slidenum">
              <a:rPr lang="da-DK" smtClean="0"/>
              <a:pPr/>
              <a:t>16</a:t>
            </a:fld>
            <a:endParaRPr lang="da-DK"/>
          </a:p>
        </p:txBody>
      </p:sp>
      <p:sp>
        <p:nvSpPr>
          <p:cNvPr id="8" name="Titel 7">
            <a:extLst>
              <a:ext uri="{FF2B5EF4-FFF2-40B4-BE49-F238E27FC236}">
                <a16:creationId xmlns:a16="http://schemas.microsoft.com/office/drawing/2014/main" id="{5F2750A1-5C5F-A2C0-7A79-F42E388577E5}"/>
              </a:ext>
            </a:extLst>
          </p:cNvPr>
          <p:cNvSpPr>
            <a:spLocks noGrp="1"/>
          </p:cNvSpPr>
          <p:nvPr>
            <p:ph type="title"/>
          </p:nvPr>
        </p:nvSpPr>
        <p:spPr/>
        <p:txBody>
          <a:bodyPr/>
          <a:lstStyle/>
          <a:p>
            <a:r>
              <a:rPr lang="da-DK"/>
              <a:t>Stigende fødevarepriser rammer pensionister hårdt</a:t>
            </a:r>
          </a:p>
        </p:txBody>
      </p:sp>
      <p:graphicFrame>
        <p:nvGraphicFramePr>
          <p:cNvPr id="2" name="Pladsholder til billede 1">
            <a:extLst>
              <a:ext uri="{FF2B5EF4-FFF2-40B4-BE49-F238E27FC236}">
                <a16:creationId xmlns:a16="http://schemas.microsoft.com/office/drawing/2014/main" id="{BFB6BA45-5132-D3B9-5AA7-AD28B2ACDE59}"/>
              </a:ext>
            </a:extLst>
          </p:cNvPr>
          <p:cNvGraphicFramePr>
            <a:graphicFrameLocks noGrp="1"/>
          </p:cNvGraphicFramePr>
          <p:nvPr>
            <p:ph type="pic" sz="quarter" idx="13"/>
          </p:nvPr>
        </p:nvGraphicFramePr>
        <p:xfrm>
          <a:off x="6096000" y="452718"/>
          <a:ext cx="5662238" cy="5814518"/>
        </p:xfrm>
        <a:graphic>
          <a:graphicData uri="http://schemas.openxmlformats.org/drawingml/2006/chart">
            <c:chart xmlns:c="http://schemas.openxmlformats.org/drawingml/2006/chart" xmlns:r="http://schemas.openxmlformats.org/officeDocument/2006/relationships" r:id="rId3"/>
          </a:graphicData>
        </a:graphic>
      </p:graphicFrame>
      <p:sp>
        <p:nvSpPr>
          <p:cNvPr id="7" name="AutoShape 4" descr="Frygter du også stigende priser? Det har du god grund til, mener ekspert -  Fagbladet3f">
            <a:extLst>
              <a:ext uri="{FF2B5EF4-FFF2-40B4-BE49-F238E27FC236}">
                <a16:creationId xmlns:a16="http://schemas.microsoft.com/office/drawing/2014/main" id="{970ABAFF-7B79-1CE5-2313-300AD841A64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Tree>
    <p:extLst>
      <p:ext uri="{BB962C8B-B14F-4D97-AF65-F5344CB8AC3E}">
        <p14:creationId xmlns:p14="http://schemas.microsoft.com/office/powerpoint/2010/main" val="2496896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807593A8-9C75-D270-147F-EC03EDA43F73}"/>
              </a:ext>
            </a:extLst>
          </p:cNvPr>
          <p:cNvSpPr>
            <a:spLocks noGrp="1"/>
          </p:cNvSpPr>
          <p:nvPr>
            <p:ph sz="half" idx="1"/>
          </p:nvPr>
        </p:nvSpPr>
        <p:spPr>
          <a:xfrm>
            <a:off x="311927" y="910350"/>
            <a:ext cx="6465530" cy="4479925"/>
          </a:xfrm>
        </p:spPr>
        <p:txBody>
          <a:bodyPr/>
          <a:lstStyle/>
          <a:p>
            <a:r>
              <a:rPr lang="da-DK" sz="2400"/>
              <a:t>Ældre Sagen været engageret i kampen siden 2022.</a:t>
            </a:r>
          </a:p>
          <a:p>
            <a:r>
              <a:rPr lang="da-DK" sz="2400"/>
              <a:t>Vi har været med til at få indført bl.a.:</a:t>
            </a:r>
            <a:br>
              <a:rPr lang="da-DK" sz="2400"/>
            </a:br>
            <a:endParaRPr lang="da-DK" sz="2400"/>
          </a:p>
          <a:p>
            <a:pPr marL="285750" indent="-285750">
              <a:buFont typeface="Arial" panose="020B0604020202020204" pitchFamily="34" charset="0"/>
              <a:buChar char="•"/>
            </a:pPr>
            <a:r>
              <a:rPr lang="da-DK" sz="2400" b="1"/>
              <a:t>Beløbsgrænser for </a:t>
            </a:r>
            <a:r>
              <a:rPr lang="da-DK" sz="2400" b="1" err="1"/>
              <a:t>straksoverførsler</a:t>
            </a:r>
            <a:r>
              <a:rPr lang="da-DK" sz="2400" b="1"/>
              <a:t> i banken</a:t>
            </a:r>
            <a:endParaRPr lang="da-DK" sz="2400"/>
          </a:p>
          <a:p>
            <a:pPr marL="285750" indent="-285750">
              <a:buFont typeface="Arial" panose="020B0604020202020204" pitchFamily="34" charset="0"/>
              <a:buChar char="•"/>
            </a:pPr>
            <a:r>
              <a:rPr lang="da-DK" sz="2400" b="1"/>
              <a:t>Udvidet beskyttelse mod fup-opkald</a:t>
            </a:r>
            <a:endParaRPr lang="da-DK" sz="2400"/>
          </a:p>
          <a:p>
            <a:pPr marL="285750" indent="-285750">
              <a:buFont typeface="Arial" panose="020B0604020202020204" pitchFamily="34" charset="0"/>
              <a:buChar char="•"/>
            </a:pPr>
            <a:r>
              <a:rPr lang="da-DK" sz="2400" b="1"/>
              <a:t>Samarbejde om informationsindsatser på tværs af myndigheder og organisationer</a:t>
            </a:r>
            <a:br>
              <a:rPr lang="da-DK" sz="2400" b="1"/>
            </a:br>
            <a:endParaRPr lang="da-DK" sz="2400" b="1"/>
          </a:p>
          <a:p>
            <a:r>
              <a:rPr lang="da-DK" sz="2400"/>
              <a:t>OG ikke mindst:</a:t>
            </a:r>
            <a:endParaRPr lang="da-DK" sz="2400" b="1"/>
          </a:p>
          <a:p>
            <a:pPr marL="285750" indent="-285750">
              <a:buFont typeface="Arial" panose="020B0604020202020204" pitchFamily="34" charset="0"/>
              <a:buChar char="•"/>
            </a:pPr>
            <a:endParaRPr lang="da-DK" sz="2000" b="1" i="1">
              <a:highlight>
                <a:srgbClr val="FFFF00"/>
              </a:highlight>
            </a:endParaRPr>
          </a:p>
          <a:p>
            <a:pPr algn="ctr"/>
            <a:r>
              <a:rPr lang="da-DK" sz="2000" b="1" i="1">
                <a:highlight>
                  <a:srgbClr val="FFFF00"/>
                </a:highlight>
              </a:rPr>
              <a:t>Bidraget til </a:t>
            </a:r>
            <a:r>
              <a:rPr lang="da-DK" sz="2000" b="1" i="1" err="1">
                <a:highlight>
                  <a:srgbClr val="FFFF00"/>
                </a:highlight>
              </a:rPr>
              <a:t>afstigmatisering</a:t>
            </a:r>
            <a:r>
              <a:rPr lang="da-DK" sz="2000" b="1" i="1">
                <a:highlight>
                  <a:srgbClr val="FFFF00"/>
                </a:highlight>
              </a:rPr>
              <a:t> af dét at blive svindlet.  Det er </a:t>
            </a:r>
            <a:r>
              <a:rPr lang="da-DK" sz="2000" b="1" i="1" u="sng">
                <a:highlight>
                  <a:srgbClr val="FFFF00"/>
                </a:highlight>
              </a:rPr>
              <a:t>ikke kun ældre </a:t>
            </a:r>
            <a:r>
              <a:rPr lang="da-DK" sz="2000" b="1" i="1">
                <a:highlight>
                  <a:srgbClr val="FFFF00"/>
                </a:highlight>
              </a:rPr>
              <a:t>– men alle samfundsgrupper,</a:t>
            </a:r>
          </a:p>
          <a:p>
            <a:pPr algn="ctr"/>
            <a:r>
              <a:rPr lang="da-DK" sz="2000" b="1" i="1">
                <a:highlight>
                  <a:srgbClr val="FFFF00"/>
                </a:highlight>
              </a:rPr>
              <a:t>der rammes!</a:t>
            </a:r>
          </a:p>
          <a:p>
            <a:endParaRPr lang="da-DK"/>
          </a:p>
          <a:p>
            <a:endParaRPr lang="da-DK"/>
          </a:p>
          <a:p>
            <a:r>
              <a:rPr lang="da-DK"/>
              <a:t> </a:t>
            </a:r>
          </a:p>
        </p:txBody>
      </p:sp>
      <p:sp>
        <p:nvSpPr>
          <p:cNvPr id="4" name="Pladsholder til dato 3">
            <a:extLst>
              <a:ext uri="{FF2B5EF4-FFF2-40B4-BE49-F238E27FC236}">
                <a16:creationId xmlns:a16="http://schemas.microsoft.com/office/drawing/2014/main" id="{D2B71108-54F6-D9EE-61D7-0C772BF5BCDE}"/>
              </a:ext>
            </a:extLst>
          </p:cNvPr>
          <p:cNvSpPr>
            <a:spLocks noGrp="1"/>
          </p:cNvSpPr>
          <p:nvPr>
            <p:ph type="dt" sz="half" idx="10"/>
          </p:nvPr>
        </p:nvSpPr>
        <p:spPr/>
        <p:txBody>
          <a:bodyPr/>
          <a:lstStyle/>
          <a:p>
            <a:fld id="{19D909C2-3D1A-4D02-8F8B-D54A969E2911}" type="datetime1">
              <a:rPr lang="da-DK" smtClean="0"/>
              <a:t>16-09-2025</a:t>
            </a:fld>
            <a:endParaRPr lang="da-DK"/>
          </a:p>
        </p:txBody>
      </p:sp>
      <p:sp>
        <p:nvSpPr>
          <p:cNvPr id="6" name="Pladsholder til slidenummer 5">
            <a:extLst>
              <a:ext uri="{FF2B5EF4-FFF2-40B4-BE49-F238E27FC236}">
                <a16:creationId xmlns:a16="http://schemas.microsoft.com/office/drawing/2014/main" id="{F1F4A83A-B930-F006-DCA0-140C86736904}"/>
              </a:ext>
            </a:extLst>
          </p:cNvPr>
          <p:cNvSpPr>
            <a:spLocks noGrp="1"/>
          </p:cNvSpPr>
          <p:nvPr>
            <p:ph type="sldNum" sz="quarter" idx="12"/>
          </p:nvPr>
        </p:nvSpPr>
        <p:spPr/>
        <p:txBody>
          <a:bodyPr/>
          <a:lstStyle/>
          <a:p>
            <a:fld id="{0E8862F4-759C-4937-98C7-CDEB1EE77131}" type="slidenum">
              <a:rPr lang="da-DK" smtClean="0"/>
              <a:pPr/>
              <a:t>17</a:t>
            </a:fld>
            <a:endParaRPr lang="da-DK"/>
          </a:p>
        </p:txBody>
      </p:sp>
      <p:sp>
        <p:nvSpPr>
          <p:cNvPr id="2" name="Titel 1">
            <a:extLst>
              <a:ext uri="{FF2B5EF4-FFF2-40B4-BE49-F238E27FC236}">
                <a16:creationId xmlns:a16="http://schemas.microsoft.com/office/drawing/2014/main" id="{5E9EC759-57E1-EA4D-1A80-0A3071BC688F}"/>
              </a:ext>
            </a:extLst>
          </p:cNvPr>
          <p:cNvSpPr>
            <a:spLocks noGrp="1"/>
          </p:cNvSpPr>
          <p:nvPr>
            <p:ph type="title"/>
          </p:nvPr>
        </p:nvSpPr>
        <p:spPr/>
        <p:txBody>
          <a:bodyPr/>
          <a:lstStyle/>
          <a:p>
            <a:r>
              <a:rPr lang="da-DK"/>
              <a:t>Ældre Sagen bekæmper økonomisk it-kriminalitet</a:t>
            </a:r>
          </a:p>
        </p:txBody>
      </p:sp>
      <p:pic>
        <p:nvPicPr>
          <p:cNvPr id="12" name="Pladsholder til billede 11" descr="Et billede, der indeholder tøj, menneske, person, jakkesæt&#10;&#10;AI-genereret indhold kan være ukorrekt.">
            <a:extLst>
              <a:ext uri="{FF2B5EF4-FFF2-40B4-BE49-F238E27FC236}">
                <a16:creationId xmlns:a16="http://schemas.microsoft.com/office/drawing/2014/main" id="{BEB5D273-CAB2-3572-C118-B62F2A1FE945}"/>
              </a:ext>
            </a:extLst>
          </p:cNvPr>
          <p:cNvPicPr>
            <a:picLocks noGrp="1" noChangeAspect="1"/>
          </p:cNvPicPr>
          <p:nvPr>
            <p:ph type="pic" sz="quarter" idx="13"/>
          </p:nvPr>
        </p:nvPicPr>
        <p:blipFill>
          <a:blip r:embed="rId3"/>
          <a:srcRect t="19692" b="19692"/>
          <a:stretch>
            <a:fillRect/>
          </a:stretch>
        </p:blipFill>
        <p:spPr>
          <a:xfrm>
            <a:off x="6646247" y="1258888"/>
            <a:ext cx="5541962" cy="4479925"/>
          </a:xfrm>
        </p:spPr>
      </p:pic>
    </p:spTree>
    <p:extLst>
      <p:ext uri="{BB962C8B-B14F-4D97-AF65-F5344CB8AC3E}">
        <p14:creationId xmlns:p14="http://schemas.microsoft.com/office/powerpoint/2010/main" val="29631286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E2880-06ED-E44F-AD98-E0BBABF061FB}"/>
              </a:ext>
            </a:extLst>
          </p:cNvPr>
          <p:cNvSpPr>
            <a:spLocks noGrp="1"/>
          </p:cNvSpPr>
          <p:nvPr>
            <p:ph type="ctrTitle"/>
          </p:nvPr>
        </p:nvSpPr>
        <p:spPr/>
        <p:txBody>
          <a:bodyPr/>
          <a:lstStyle/>
          <a:p>
            <a:r>
              <a:rPr lang="da-DK"/>
              <a:t>Strategi 2026 </a:t>
            </a:r>
          </a:p>
        </p:txBody>
      </p:sp>
      <p:sp>
        <p:nvSpPr>
          <p:cNvPr id="3" name="Subtitle 2">
            <a:extLst>
              <a:ext uri="{FF2B5EF4-FFF2-40B4-BE49-F238E27FC236}">
                <a16:creationId xmlns:a16="http://schemas.microsoft.com/office/drawing/2014/main" id="{3827A995-4F99-2BF2-03B2-C3C6D71535BE}"/>
              </a:ext>
            </a:extLst>
          </p:cNvPr>
          <p:cNvSpPr>
            <a:spLocks noGrp="1"/>
          </p:cNvSpPr>
          <p:nvPr>
            <p:ph type="subTitle" idx="1"/>
          </p:nvPr>
        </p:nvSpPr>
        <p:spPr/>
        <p:txBody>
          <a:bodyPr/>
          <a:lstStyle/>
          <a:p>
            <a:r>
              <a:rPr lang="da-DK"/>
              <a:t>Foreløbige tanker efter Landsbestyrelsesmøde Aarhus, 25. august 2025</a:t>
            </a:r>
          </a:p>
        </p:txBody>
      </p:sp>
      <p:pic>
        <p:nvPicPr>
          <p:cNvPr id="5" name="Pladsholder til billede 4" descr="Nærbillede af tjekliste">
            <a:extLst>
              <a:ext uri="{FF2B5EF4-FFF2-40B4-BE49-F238E27FC236}">
                <a16:creationId xmlns:a16="http://schemas.microsoft.com/office/drawing/2014/main" id="{0307507F-F2C6-8438-5A2B-B50483288B39}"/>
              </a:ext>
            </a:extLst>
          </p:cNvPr>
          <p:cNvPicPr>
            <a:picLocks noGrp="1" noChangeAspect="1"/>
          </p:cNvPicPr>
          <p:nvPr>
            <p:ph type="pic" sz="quarter" idx="10"/>
          </p:nvPr>
        </p:nvPicPr>
        <p:blipFill>
          <a:blip r:embed="rId3"/>
          <a:srcRect l="20278" r="20278"/>
          <a:stretch>
            <a:fillRect/>
          </a:stretch>
        </p:blipFill>
        <p:spPr/>
      </p:pic>
    </p:spTree>
    <p:extLst>
      <p:ext uri="{BB962C8B-B14F-4D97-AF65-F5344CB8AC3E}">
        <p14:creationId xmlns:p14="http://schemas.microsoft.com/office/powerpoint/2010/main" val="265710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B76CBB-0718-8DD9-BE5C-68EC9F3D57A7}"/>
              </a:ext>
            </a:extLst>
          </p:cNvPr>
          <p:cNvSpPr>
            <a:spLocks noGrp="1"/>
          </p:cNvSpPr>
          <p:nvPr>
            <p:ph type="title"/>
          </p:nvPr>
        </p:nvSpPr>
        <p:spPr/>
        <p:txBody>
          <a:bodyPr/>
          <a:lstStyle/>
          <a:p>
            <a:r>
              <a:rPr lang="da-DK"/>
              <a:t>Politiske og økonomiske tendenser i 2026</a:t>
            </a:r>
          </a:p>
        </p:txBody>
      </p:sp>
      <p:sp>
        <p:nvSpPr>
          <p:cNvPr id="3" name="Pladsholder til dato 2">
            <a:extLst>
              <a:ext uri="{FF2B5EF4-FFF2-40B4-BE49-F238E27FC236}">
                <a16:creationId xmlns:a16="http://schemas.microsoft.com/office/drawing/2014/main" id="{FB8F9696-6EC5-B762-C6E0-19591BEE82E6}"/>
              </a:ext>
            </a:extLst>
          </p:cNvPr>
          <p:cNvSpPr>
            <a:spLocks noGrp="1"/>
          </p:cNvSpPr>
          <p:nvPr>
            <p:ph type="dt" sz="half" idx="10"/>
          </p:nvPr>
        </p:nvSpPr>
        <p:spPr/>
        <p:txBody>
          <a:bodyPr/>
          <a:lstStyle/>
          <a:p>
            <a:endParaRPr lang="da-DK"/>
          </a:p>
        </p:txBody>
      </p:sp>
      <p:sp>
        <p:nvSpPr>
          <p:cNvPr id="5" name="Pladsholder til indhold 4">
            <a:extLst>
              <a:ext uri="{FF2B5EF4-FFF2-40B4-BE49-F238E27FC236}">
                <a16:creationId xmlns:a16="http://schemas.microsoft.com/office/drawing/2014/main" id="{8194949E-D450-39DF-CFBE-A50DCA777723}"/>
              </a:ext>
            </a:extLst>
          </p:cNvPr>
          <p:cNvSpPr>
            <a:spLocks noGrp="1"/>
          </p:cNvSpPr>
          <p:nvPr>
            <p:ph sz="quarter" idx="13"/>
          </p:nvPr>
        </p:nvSpPr>
        <p:spPr/>
        <p:txBody>
          <a:bodyPr/>
          <a:lstStyle/>
          <a:p>
            <a:r>
              <a:rPr lang="da-DK" sz="2400" b="1"/>
              <a:t>Trumps ”</a:t>
            </a:r>
            <a:r>
              <a:rPr lang="da-DK" sz="2400" b="1" err="1"/>
              <a:t>beggar</a:t>
            </a:r>
            <a:r>
              <a:rPr lang="da-DK" sz="2400" b="1"/>
              <a:t> </a:t>
            </a:r>
            <a:r>
              <a:rPr lang="da-DK" sz="2400" b="1" err="1"/>
              <a:t>thy</a:t>
            </a:r>
            <a:r>
              <a:rPr lang="da-DK" sz="2400" b="1"/>
              <a:t> </a:t>
            </a:r>
            <a:r>
              <a:rPr lang="da-DK" sz="2400" b="1" err="1"/>
              <a:t>neighbour</a:t>
            </a:r>
            <a:r>
              <a:rPr lang="da-DK" sz="2400" b="1"/>
              <a:t>” policy</a:t>
            </a:r>
          </a:p>
          <a:p>
            <a:endParaRPr lang="da-DK" sz="2400" b="1"/>
          </a:p>
          <a:p>
            <a:pPr marL="342900" indent="-342900">
              <a:buFont typeface="Arial" panose="020B0604020202020204" pitchFamily="34" charset="0"/>
              <a:buChar char="•"/>
            </a:pPr>
            <a:r>
              <a:rPr lang="da-DK" sz="2400"/>
              <a:t>Efterspørgslen i Danmark trækkes af stærk eksport </a:t>
            </a:r>
            <a:br>
              <a:rPr lang="da-DK" sz="2400"/>
            </a:br>
            <a:r>
              <a:rPr lang="da-DK" sz="2400"/>
              <a:t>(især medicin, dog trussel fra konkurrenter og kopiprodukter) </a:t>
            </a:r>
          </a:p>
          <a:p>
            <a:pPr marL="342900" indent="-342900">
              <a:buFont typeface="Arial" panose="020B0604020202020204" pitchFamily="34" charset="0"/>
              <a:buChar char="•"/>
            </a:pPr>
            <a:r>
              <a:rPr lang="da-DK" sz="2400"/>
              <a:t>Megen dansk medicinproduktion foregår i USA og rammes ikke af straftold</a:t>
            </a:r>
          </a:p>
          <a:p>
            <a:pPr marL="342900" indent="-342900">
              <a:buFont typeface="Arial" panose="020B0604020202020204" pitchFamily="34" charset="0"/>
              <a:buChar char="•"/>
            </a:pPr>
            <a:r>
              <a:rPr lang="da-DK" sz="2400"/>
              <a:t>Men Trumps politik vil ryste verdensøkonomien</a:t>
            </a:r>
          </a:p>
          <a:p>
            <a:pPr marL="342900" indent="-342900">
              <a:buFont typeface="Arial" panose="020B0604020202020204" pitchFamily="34" charset="0"/>
              <a:buChar char="•"/>
            </a:pPr>
            <a:r>
              <a:rPr lang="da-DK" sz="2400"/>
              <a:t>Selv om dansk økonomi er grundlæggende robust, vil Danmark - som handels- og transportnation – rammes hårdere end mange andre</a:t>
            </a:r>
          </a:p>
          <a:p>
            <a:pPr marL="342900" indent="-342900">
              <a:buFont typeface="Arial" panose="020B0604020202020204" pitchFamily="34" charset="0"/>
              <a:buChar char="•"/>
            </a:pPr>
            <a:r>
              <a:rPr lang="da-DK" sz="2400"/>
              <a:t>Lige nu er verdensøkonomien komplet uforudsigelig</a:t>
            </a:r>
          </a:p>
          <a:p>
            <a:pPr marL="342900" indent="-342900">
              <a:buFont typeface="Arial" panose="020B0604020202020204" pitchFamily="34" charset="0"/>
              <a:buChar char="•"/>
            </a:pPr>
            <a:r>
              <a:rPr lang="da-DK" sz="2400"/>
              <a:t>Situationen i Ukraine af central betydning – i krig er der forsvarsudgifter, træk på arbejdsstyrke; ved fred: stort ressourcetræk til genopbygning</a:t>
            </a:r>
            <a:endParaRPr lang="da-DK"/>
          </a:p>
          <a:p>
            <a:endParaRPr lang="da-DK"/>
          </a:p>
          <a:p>
            <a:endParaRPr lang="da-DK"/>
          </a:p>
        </p:txBody>
      </p:sp>
    </p:spTree>
    <p:extLst>
      <p:ext uri="{BB962C8B-B14F-4D97-AF65-F5344CB8AC3E}">
        <p14:creationId xmlns:p14="http://schemas.microsoft.com/office/powerpoint/2010/main" val="2921424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7159980-D977-EC22-F123-2CF679933BF7}"/>
              </a:ext>
            </a:extLst>
          </p:cNvPr>
          <p:cNvSpPr>
            <a:spLocks noGrp="1"/>
          </p:cNvSpPr>
          <p:nvPr>
            <p:ph type="title"/>
          </p:nvPr>
        </p:nvSpPr>
        <p:spPr>
          <a:xfrm>
            <a:off x="821728" y="392397"/>
            <a:ext cx="9974263" cy="2287430"/>
          </a:xfrm>
        </p:spPr>
        <p:txBody>
          <a:bodyPr/>
          <a:lstStyle/>
          <a:p>
            <a:pPr>
              <a:buNone/>
            </a:pPr>
            <a:r>
              <a:rPr lang="da-DK"/>
              <a:t>Agenda</a:t>
            </a:r>
            <a:br>
              <a:rPr lang="da-DK"/>
            </a:br>
            <a:br>
              <a:rPr lang="da-DK" sz="1800">
                <a:effectLst/>
                <a:latin typeface="Aptos" panose="020B0004020202020204" pitchFamily="34" charset="0"/>
                <a:ea typeface="Aptos" panose="020B0004020202020204" pitchFamily="34" charset="0"/>
                <a:cs typeface="Aptos" panose="020B0004020202020204" pitchFamily="34" charset="0"/>
              </a:rPr>
            </a:br>
            <a:br>
              <a:rPr lang="da-DK"/>
            </a:br>
            <a:endParaRPr lang="da-DK"/>
          </a:p>
        </p:txBody>
      </p:sp>
      <p:sp>
        <p:nvSpPr>
          <p:cNvPr id="11" name="Pladsholder til tekst 10">
            <a:extLst>
              <a:ext uri="{FF2B5EF4-FFF2-40B4-BE49-F238E27FC236}">
                <a16:creationId xmlns:a16="http://schemas.microsoft.com/office/drawing/2014/main" id="{17FCA3F5-D648-3886-1AAE-9DBA1AC0AA04}"/>
              </a:ext>
            </a:extLst>
          </p:cNvPr>
          <p:cNvSpPr>
            <a:spLocks noGrp="1"/>
          </p:cNvSpPr>
          <p:nvPr>
            <p:ph type="body" idx="1"/>
          </p:nvPr>
        </p:nvSpPr>
        <p:spPr>
          <a:xfrm>
            <a:off x="831850" y="2290691"/>
            <a:ext cx="10538422" cy="1486160"/>
          </a:xfrm>
        </p:spPr>
        <p:txBody>
          <a:bodyPr vert="horz" lIns="0" tIns="0" rIns="0" bIns="0" rtlCol="0" anchor="t">
            <a:noAutofit/>
          </a:bodyPr>
          <a:lstStyle/>
          <a:p>
            <a:r>
              <a:rPr lang="da-DK" sz="2000">
                <a:effectLst/>
                <a:latin typeface="IBM Plex Sans"/>
                <a:ea typeface="Aptos" panose="020B0004020202020204" pitchFamily="34" charset="0"/>
                <a:cs typeface="Aptos" panose="020B0004020202020204" pitchFamily="34" charset="0"/>
              </a:rPr>
              <a:t> </a:t>
            </a:r>
            <a:br>
              <a:rPr lang="da-DK" sz="2400">
                <a:effectLst/>
                <a:latin typeface="Aptos" panose="020B0004020202020204" pitchFamily="34" charset="0"/>
                <a:ea typeface="Aptos" panose="020B0004020202020204" pitchFamily="34" charset="0"/>
                <a:cs typeface="Aptos" panose="020B0004020202020204" pitchFamily="34" charset="0"/>
              </a:rPr>
            </a:br>
            <a:r>
              <a:rPr lang="da-DK" sz="2400" b="1">
                <a:effectLst/>
                <a:latin typeface="IBM Plex Sans"/>
                <a:ea typeface="Times New Roman" panose="02020603050405020304" pitchFamily="18" charset="0"/>
                <a:cs typeface="Aptos" panose="020B0004020202020204" pitchFamily="34" charset="0"/>
              </a:rPr>
              <a:t>Ældrepleje og sundhed: </a:t>
            </a:r>
            <a:r>
              <a:rPr lang="da-DK" sz="2400">
                <a:latin typeface="IBM Plex Sans"/>
                <a:ea typeface="Times New Roman" panose="02020603050405020304" pitchFamily="18" charset="0"/>
                <a:cs typeface="Aptos" panose="020B0004020202020204" pitchFamily="34" charset="0"/>
              </a:rPr>
              <a:t>P</a:t>
            </a:r>
            <a:r>
              <a:rPr lang="da-DK" sz="2400">
                <a:effectLst/>
                <a:latin typeface="IBM Plex Sans"/>
                <a:ea typeface="Times New Roman" panose="02020603050405020304" pitchFamily="18" charset="0"/>
                <a:cs typeface="Aptos" panose="020B0004020202020204" pitchFamily="34" charset="0"/>
              </a:rPr>
              <a:t>lejeboligmangel, Omsorgssvigt, 3 store undersøgelser -&gt;KV25-indsats, </a:t>
            </a:r>
            <a:r>
              <a:rPr lang="da-DK" sz="2400">
                <a:latin typeface="IBM Plex Sans"/>
                <a:ea typeface="Times New Roman" panose="02020603050405020304" pitchFamily="18" charset="0"/>
                <a:cs typeface="Aptos" panose="020B0004020202020204" pitchFamily="34" charset="0"/>
              </a:rPr>
              <a:t>Aktuel s</a:t>
            </a:r>
            <a:r>
              <a:rPr lang="da-DK" sz="2400">
                <a:effectLst/>
                <a:latin typeface="IBM Plex Sans"/>
                <a:ea typeface="Times New Roman" panose="02020603050405020304" pitchFamily="18" charset="0"/>
                <a:cs typeface="Aptos" panose="020B0004020202020204" pitchFamily="34" charset="0"/>
              </a:rPr>
              <a:t>tatus på sundhedsstrukturreform</a:t>
            </a:r>
            <a:br>
              <a:rPr lang="da-DK" sz="2400">
                <a:effectLst/>
                <a:latin typeface="IBM Plex Sans" panose="020B0503050203000203" pitchFamily="34" charset="0"/>
                <a:ea typeface="Times New Roman" panose="02020603050405020304" pitchFamily="18" charset="0"/>
                <a:cs typeface="Aptos" panose="020B0004020202020204" pitchFamily="34" charset="0"/>
              </a:rPr>
            </a:br>
            <a:br>
              <a:rPr lang="da-DK" sz="2400">
                <a:effectLst/>
                <a:latin typeface="Aptos" panose="020B0004020202020204" pitchFamily="34" charset="0"/>
                <a:ea typeface="Aptos" panose="020B0004020202020204" pitchFamily="34" charset="0"/>
                <a:cs typeface="Aptos" panose="020B0004020202020204" pitchFamily="34" charset="0"/>
              </a:rPr>
            </a:br>
            <a:r>
              <a:rPr lang="da-DK" sz="2400" b="1">
                <a:effectLst/>
                <a:latin typeface="IBM Plex Sans"/>
                <a:ea typeface="Times New Roman" panose="02020603050405020304" pitchFamily="18" charset="0"/>
                <a:cs typeface="Aptos" panose="020B0004020202020204" pitchFamily="34" charset="0"/>
              </a:rPr>
              <a:t>Økonomi: </a:t>
            </a:r>
            <a:r>
              <a:rPr lang="da-DK" sz="2400">
                <a:effectLst/>
                <a:latin typeface="IBM Plex Sans"/>
                <a:ea typeface="Times New Roman" panose="02020603050405020304" pitchFamily="18" charset="0"/>
                <a:cs typeface="Aptos" panose="020B0004020202020204" pitchFamily="34" charset="0"/>
              </a:rPr>
              <a:t>Kommunale regnskaber; Ældrecheck-udskydelse</a:t>
            </a:r>
            <a:br>
              <a:rPr lang="da-DK" sz="2400">
                <a:effectLst/>
                <a:latin typeface="Aptos" panose="020B0004020202020204" pitchFamily="34" charset="0"/>
                <a:ea typeface="Aptos" panose="020B0004020202020204" pitchFamily="34" charset="0"/>
                <a:cs typeface="Aptos" panose="020B0004020202020204" pitchFamily="34" charset="0"/>
              </a:rPr>
            </a:br>
            <a:br>
              <a:rPr lang="da-DK" sz="2400" b="1">
                <a:effectLst/>
                <a:latin typeface="Aptos" panose="020B0004020202020204" pitchFamily="34" charset="0"/>
                <a:ea typeface="Aptos" panose="020B0004020202020204" pitchFamily="34" charset="0"/>
                <a:cs typeface="Aptos" panose="020B0004020202020204" pitchFamily="34" charset="0"/>
              </a:rPr>
            </a:br>
            <a:r>
              <a:rPr lang="da-DK" sz="2400" b="1">
                <a:effectLst/>
                <a:latin typeface="IBM Plex Sans"/>
                <a:ea typeface="Times New Roman" panose="02020603050405020304" pitchFamily="18" charset="0"/>
                <a:cs typeface="Aptos" panose="020B0004020202020204" pitchFamily="34" charset="0"/>
              </a:rPr>
              <a:t>Strategi 2026</a:t>
            </a:r>
            <a:r>
              <a:rPr lang="da-DK" sz="2400" b="1">
                <a:latin typeface="IBM Plex Sans"/>
                <a:ea typeface="Times New Roman" panose="02020603050405020304" pitchFamily="18" charset="0"/>
                <a:cs typeface="Aptos" panose="020B0004020202020204" pitchFamily="34" charset="0"/>
              </a:rPr>
              <a:t>: </a:t>
            </a:r>
            <a:r>
              <a:rPr lang="da-DK" sz="2400">
                <a:latin typeface="IBM Plex Sans"/>
                <a:ea typeface="Times New Roman" panose="02020603050405020304" pitchFamily="18" charset="0"/>
                <a:cs typeface="Aptos" panose="020B0004020202020204" pitchFamily="34" charset="0"/>
              </a:rPr>
              <a:t>Foreløbige tanker fra landsbestyrelse og direktion</a:t>
            </a:r>
            <a:endParaRPr lang="da-DK" sz="2400">
              <a:latin typeface="IBM Plex Sans"/>
            </a:endParaRPr>
          </a:p>
        </p:txBody>
      </p:sp>
      <p:sp>
        <p:nvSpPr>
          <p:cNvPr id="3" name="Pladsholder til dato 2">
            <a:extLst>
              <a:ext uri="{FF2B5EF4-FFF2-40B4-BE49-F238E27FC236}">
                <a16:creationId xmlns:a16="http://schemas.microsoft.com/office/drawing/2014/main" id="{B0D4C574-8B18-4933-65B3-624D39A23AEC}"/>
              </a:ext>
            </a:extLst>
          </p:cNvPr>
          <p:cNvSpPr>
            <a:spLocks noGrp="1"/>
          </p:cNvSpPr>
          <p:nvPr>
            <p:ph type="dt" sz="half" idx="10"/>
          </p:nvPr>
        </p:nvSpPr>
        <p:spPr>
          <a:xfrm>
            <a:off x="8866188" y="6577013"/>
            <a:ext cx="1939925" cy="273050"/>
          </a:xfrm>
        </p:spPr>
        <p:txBody>
          <a:bodyPr/>
          <a:lstStyle/>
          <a:p>
            <a:fld id="{7BB729CF-7240-4B05-8B13-6F47062F3865}" type="datetime1">
              <a:rPr lang="da-DK" smtClean="0"/>
              <a:t>16-09-2025</a:t>
            </a:fld>
            <a:endParaRPr lang="da-DK"/>
          </a:p>
        </p:txBody>
      </p:sp>
      <p:sp>
        <p:nvSpPr>
          <p:cNvPr id="5" name="Pladsholder til slidenummer 4">
            <a:extLst>
              <a:ext uri="{FF2B5EF4-FFF2-40B4-BE49-F238E27FC236}">
                <a16:creationId xmlns:a16="http://schemas.microsoft.com/office/drawing/2014/main" id="{35151679-1DAE-50B6-4F6E-7C41DE8D725B}"/>
              </a:ext>
            </a:extLst>
          </p:cNvPr>
          <p:cNvSpPr>
            <a:spLocks noGrp="1"/>
          </p:cNvSpPr>
          <p:nvPr>
            <p:ph type="sldNum" sz="quarter" idx="12"/>
          </p:nvPr>
        </p:nvSpPr>
        <p:spPr>
          <a:xfrm>
            <a:off x="11082337" y="6577013"/>
            <a:ext cx="693737" cy="273050"/>
          </a:xfrm>
        </p:spPr>
        <p:txBody>
          <a:bodyPr/>
          <a:lstStyle/>
          <a:p>
            <a:fld id="{0E8862F4-759C-4937-98C7-CDEB1EE77131}" type="slidenum">
              <a:rPr lang="da-DK" smtClean="0"/>
              <a:pPr/>
              <a:t>2</a:t>
            </a:fld>
            <a:endParaRPr lang="da-DK"/>
          </a:p>
        </p:txBody>
      </p:sp>
    </p:spTree>
    <p:extLst>
      <p:ext uri="{BB962C8B-B14F-4D97-AF65-F5344CB8AC3E}">
        <p14:creationId xmlns:p14="http://schemas.microsoft.com/office/powerpoint/2010/main" val="38472791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84DC39-D032-A56F-1D12-D2338AFA0E6A}"/>
              </a:ext>
            </a:extLst>
          </p:cNvPr>
          <p:cNvSpPr/>
          <p:nvPr/>
        </p:nvSpPr>
        <p:spPr>
          <a:xfrm>
            <a:off x="0" y="1259710"/>
            <a:ext cx="12192002" cy="433858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no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sp>
        <p:nvSpPr>
          <p:cNvPr id="8" name="Title 7">
            <a:extLst>
              <a:ext uri="{FF2B5EF4-FFF2-40B4-BE49-F238E27FC236}">
                <a16:creationId xmlns:a16="http://schemas.microsoft.com/office/drawing/2014/main" id="{E1581E4C-DE67-0B53-8ABE-5CA50C85209B}"/>
              </a:ext>
            </a:extLst>
          </p:cNvPr>
          <p:cNvSpPr>
            <a:spLocks noGrp="1"/>
          </p:cNvSpPr>
          <p:nvPr>
            <p:ph type="title" idx="4294967295"/>
          </p:nvPr>
        </p:nvSpPr>
        <p:spPr>
          <a:xfrm>
            <a:off x="246888" y="2146460"/>
            <a:ext cx="4398264" cy="3383290"/>
          </a:xfrm>
        </p:spPr>
        <p:txBody>
          <a:bodyPr anchor="t">
            <a:noAutofit/>
          </a:bodyPr>
          <a:lstStyle/>
          <a:p>
            <a:pPr algn="l"/>
            <a:r>
              <a:rPr lang="da-DK" sz="3600"/>
              <a:t>De 3 Skub: </a:t>
            </a:r>
            <a:br>
              <a:rPr lang="da-DK" sz="3600"/>
            </a:br>
            <a:r>
              <a:rPr lang="da-DK" sz="3600" b="0"/>
              <a:t>Tre områder i </a:t>
            </a:r>
            <a:br>
              <a:rPr lang="da-DK" sz="3600" b="0"/>
            </a:br>
            <a:r>
              <a:rPr lang="da-DK" sz="3600" b="0"/>
              <a:t>Ældre Sagens </a:t>
            </a:r>
            <a:br>
              <a:rPr lang="da-DK" sz="3600" b="0"/>
            </a:br>
            <a:r>
              <a:rPr lang="da-DK" sz="3600" b="0"/>
              <a:t>2023-2027-strategi, hvor vi ønsker at styrke indsats og resultater </a:t>
            </a:r>
          </a:p>
        </p:txBody>
      </p:sp>
      <p:sp>
        <p:nvSpPr>
          <p:cNvPr id="6" name="Freeform: Shape 5">
            <a:extLst>
              <a:ext uri="{FF2B5EF4-FFF2-40B4-BE49-F238E27FC236}">
                <a16:creationId xmlns:a16="http://schemas.microsoft.com/office/drawing/2014/main" id="{B39B3FC0-B351-19F1-0F75-6A75777B28C5}"/>
              </a:ext>
            </a:extLst>
          </p:cNvPr>
          <p:cNvSpPr/>
          <p:nvPr/>
        </p:nvSpPr>
        <p:spPr>
          <a:xfrm>
            <a:off x="6009112" y="4448869"/>
            <a:ext cx="252195" cy="333787"/>
          </a:xfrm>
          <a:custGeom>
            <a:avLst/>
            <a:gdLst>
              <a:gd name="connsiteX0" fmla="*/ 6947 w 451750"/>
              <a:gd name="connsiteY0" fmla="*/ 591499 h 597904"/>
              <a:gd name="connsiteX1" fmla="*/ 6947 w 451750"/>
              <a:gd name="connsiteY1" fmla="*/ 205518 h 597904"/>
              <a:gd name="connsiteX2" fmla="*/ 205518 w 451750"/>
              <a:gd name="connsiteY2" fmla="*/ 6947 h 597904"/>
              <a:gd name="connsiteX3" fmla="*/ 205518 w 451750"/>
              <a:gd name="connsiteY3" fmla="*/ 6947 h 597904"/>
              <a:gd name="connsiteX4" fmla="*/ 404089 w 451750"/>
              <a:gd name="connsiteY4" fmla="*/ 205518 h 597904"/>
              <a:gd name="connsiteX5" fmla="*/ 404089 w 451750"/>
              <a:gd name="connsiteY5" fmla="*/ 256672 h 597904"/>
              <a:gd name="connsiteX6" fmla="*/ 449330 w 451750"/>
              <a:gd name="connsiteY6" fmla="*/ 410068 h 597904"/>
              <a:gd name="connsiteX7" fmla="*/ 378512 w 451750"/>
              <a:gd name="connsiteY7" fmla="*/ 410068 h 597904"/>
              <a:gd name="connsiteX8" fmla="*/ 378512 w 451750"/>
              <a:gd name="connsiteY8" fmla="*/ 491250 h 597904"/>
              <a:gd name="connsiteX9" fmla="*/ 333137 w 451750"/>
              <a:gd name="connsiteY9" fmla="*/ 536624 h 597904"/>
              <a:gd name="connsiteX10" fmla="*/ 251224 w 451750"/>
              <a:gd name="connsiteY10" fmla="*/ 536624 h 59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1750" h="597904">
                <a:moveTo>
                  <a:pt x="6947" y="591499"/>
                </a:moveTo>
                <a:lnTo>
                  <a:pt x="6947" y="205518"/>
                </a:lnTo>
                <a:cubicBezTo>
                  <a:pt x="6947" y="95836"/>
                  <a:pt x="95836" y="6947"/>
                  <a:pt x="205518" y="6947"/>
                </a:cubicBezTo>
                <a:lnTo>
                  <a:pt x="205518" y="6947"/>
                </a:lnTo>
                <a:cubicBezTo>
                  <a:pt x="315200" y="6947"/>
                  <a:pt x="404089" y="95836"/>
                  <a:pt x="404089" y="205518"/>
                </a:cubicBezTo>
                <a:lnTo>
                  <a:pt x="404089" y="256672"/>
                </a:lnTo>
                <a:lnTo>
                  <a:pt x="449330" y="410068"/>
                </a:lnTo>
                <a:lnTo>
                  <a:pt x="378512" y="410068"/>
                </a:lnTo>
                <a:lnTo>
                  <a:pt x="378512" y="491250"/>
                </a:lnTo>
                <a:cubicBezTo>
                  <a:pt x="378512" y="516296"/>
                  <a:pt x="358183" y="536624"/>
                  <a:pt x="333137" y="536624"/>
                </a:cubicBezTo>
                <a:lnTo>
                  <a:pt x="251224" y="536624"/>
                </a:lnTo>
              </a:path>
            </a:pathLst>
          </a:custGeom>
          <a:noFill/>
          <a:ln w="19050" cap="rnd">
            <a:solidFill>
              <a:schemeClr val="bg1"/>
            </a:solidFill>
            <a:prstDash val="solid"/>
            <a:round/>
          </a:ln>
        </p:spPr>
        <p:txBody>
          <a:bodyPr rtlCol="0" anchor="ctr"/>
          <a:lstStyle/>
          <a:p>
            <a:endParaRPr lang="en-GB"/>
          </a:p>
        </p:txBody>
      </p:sp>
      <p:pic>
        <p:nvPicPr>
          <p:cNvPr id="16" name="Billede 15">
            <a:extLst>
              <a:ext uri="{FF2B5EF4-FFF2-40B4-BE49-F238E27FC236}">
                <a16:creationId xmlns:a16="http://schemas.microsoft.com/office/drawing/2014/main" id="{3F6A1321-25AE-432B-B03E-12FA30E1D2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1725" y="731672"/>
            <a:ext cx="5400000" cy="53946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387703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4">
            <a:extLst>
              <a:ext uri="{FF2B5EF4-FFF2-40B4-BE49-F238E27FC236}">
                <a16:creationId xmlns:a16="http://schemas.microsoft.com/office/drawing/2014/main" id="{F121BCD3-668A-46DE-8DD0-ADAA686497FD}"/>
              </a:ext>
            </a:extLst>
          </p:cNvPr>
          <p:cNvSpPr txBox="1">
            <a:spLocks noGrp="1"/>
          </p:cNvSpPr>
          <p:nvPr>
            <p:ph sz="quarter" idx="13"/>
          </p:nvPr>
        </p:nvSpPr>
        <p:spPr>
          <a:xfrm>
            <a:off x="349826" y="920222"/>
            <a:ext cx="5609651" cy="4910562"/>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522288" lvl="2" indent="-342900" algn="l">
              <a:spcBef>
                <a:spcPts val="0"/>
              </a:spcBef>
              <a:spcAft>
                <a:spcPts val="300"/>
              </a:spcAft>
            </a:pPr>
            <a:r>
              <a:rPr lang="da-DK" sz="1800">
                <a:solidFill>
                  <a:schemeClr val="tx1"/>
                </a:solidFill>
                <a:latin typeface="+mn-lt"/>
                <a:sym typeface="Palatino"/>
              </a:rPr>
              <a:t>Ny ældrelov med m</a:t>
            </a:r>
            <a:r>
              <a:rPr lang="da-DK" sz="1800">
                <a:solidFill>
                  <a:schemeClr val="tx1"/>
                </a:solidFill>
                <a:latin typeface="+mn-lt"/>
              </a:rPr>
              <a:t>ere frihed til kommunerne</a:t>
            </a:r>
            <a:br>
              <a:rPr lang="da-DK" sz="1800">
                <a:solidFill>
                  <a:schemeClr val="tx1"/>
                </a:solidFill>
                <a:latin typeface="+mn-lt"/>
              </a:rPr>
            </a:br>
            <a:r>
              <a:rPr lang="da-DK" sz="1800">
                <a:solidFill>
                  <a:schemeClr val="tx1"/>
                </a:solidFill>
                <a:latin typeface="+mn-lt"/>
              </a:rPr>
              <a:t>- gennemførelse fortsætter i 2026</a:t>
            </a:r>
          </a:p>
          <a:p>
            <a:pPr marL="522288" lvl="2" indent="-342900" algn="l">
              <a:spcBef>
                <a:spcPts val="0"/>
              </a:spcBef>
              <a:spcAft>
                <a:spcPts val="300"/>
              </a:spcAft>
            </a:pPr>
            <a:r>
              <a:rPr lang="da-DK" sz="1800">
                <a:solidFill>
                  <a:schemeClr val="tx1"/>
                </a:solidFill>
                <a:latin typeface="+mn-lt"/>
              </a:rPr>
              <a:t>Vil kommunerne leve op til ældrelovs gode intentioner (kontinuitet, livskvalitet, forebyggelse, selvbestemmelse, tværfaglighed) – eller springe over, hvor gærdet er lavest?</a:t>
            </a:r>
          </a:p>
          <a:p>
            <a:pPr marL="522288" lvl="2" indent="-342900" algn="l">
              <a:spcBef>
                <a:spcPts val="0"/>
              </a:spcBef>
              <a:spcAft>
                <a:spcPts val="300"/>
              </a:spcAft>
            </a:pPr>
            <a:r>
              <a:rPr lang="da-DK" sz="1800">
                <a:solidFill>
                  <a:schemeClr val="tx1"/>
                </a:solidFill>
                <a:latin typeface="+mn-lt"/>
              </a:rPr>
              <a:t>Ældre Sagens velfærdsteknologi-frivillige</a:t>
            </a:r>
          </a:p>
          <a:p>
            <a:pPr marL="520700" lvl="1" indent="-342900" algn="l">
              <a:spcAft>
                <a:spcPts val="600"/>
              </a:spcAft>
            </a:pPr>
            <a:r>
              <a:rPr lang="da-DK" sz="1800">
                <a:solidFill>
                  <a:schemeClr val="tx1"/>
                </a:solidFill>
                <a:latin typeface="+mn-lt"/>
              </a:rPr>
              <a:t>Hvordan får vi aktiveret </a:t>
            </a:r>
            <a:r>
              <a:rPr lang="da-DK" sz="1800" err="1">
                <a:solidFill>
                  <a:schemeClr val="tx1"/>
                </a:solidFill>
                <a:latin typeface="+mn-lt"/>
              </a:rPr>
              <a:t>KoU</a:t>
            </a:r>
            <a:r>
              <a:rPr lang="da-DK" sz="1800">
                <a:solidFill>
                  <a:schemeClr val="tx1"/>
                </a:solidFill>
                <a:latin typeface="+mn-lt"/>
              </a:rPr>
              <a:t>/LA til at indgå i de op til 98 lokale partnerskaber vedr. ældrelov?</a:t>
            </a:r>
            <a:r>
              <a:rPr lang="da-DK" sz="1800">
                <a:latin typeface="+mn-lt"/>
              </a:rPr>
              <a:t>?</a:t>
            </a:r>
          </a:p>
          <a:p>
            <a:pPr marL="522288" lvl="2" indent="-342900" algn="l">
              <a:spcBef>
                <a:spcPts val="0"/>
              </a:spcBef>
              <a:spcAft>
                <a:spcPts val="300"/>
              </a:spcAft>
            </a:pPr>
            <a:r>
              <a:rPr lang="da-DK" sz="1800">
                <a:solidFill>
                  <a:schemeClr val="tx1"/>
                </a:solidFill>
                <a:latin typeface="+mn-lt"/>
                <a:sym typeface="Palatino"/>
              </a:rPr>
              <a:t>Sundhedsreform: 17 Sundhedsråd, hvor Ældre Sagen i PPU får indflydelse på det nære sundhedsvæsen, forberedes i 2026</a:t>
            </a:r>
          </a:p>
          <a:p>
            <a:pPr marL="522288" lvl="2" indent="-342900" algn="l">
              <a:spcBef>
                <a:spcPts val="0"/>
              </a:spcBef>
              <a:spcAft>
                <a:spcPts val="300"/>
              </a:spcAft>
            </a:pPr>
            <a:r>
              <a:rPr lang="da-DK" sz="1800">
                <a:solidFill>
                  <a:schemeClr val="tx1"/>
                </a:solidFill>
                <a:latin typeface="+mn-lt"/>
                <a:sym typeface="Palatino"/>
              </a:rPr>
              <a:t>Vi skal sikre værdighed og tryghed i </a:t>
            </a:r>
            <a:r>
              <a:rPr lang="da-DK" sz="1800" b="1">
                <a:solidFill>
                  <a:schemeClr val="tx1"/>
                </a:solidFill>
                <a:latin typeface="+mn-lt"/>
                <a:sym typeface="Palatino"/>
              </a:rPr>
              <a:t>både</a:t>
            </a:r>
            <a:r>
              <a:rPr lang="da-DK" sz="1800">
                <a:solidFill>
                  <a:schemeClr val="tx1"/>
                </a:solidFill>
                <a:latin typeface="+mn-lt"/>
                <a:sym typeface="Palatino"/>
              </a:rPr>
              <a:t> nye ældrelov </a:t>
            </a:r>
            <a:r>
              <a:rPr lang="da-DK" sz="1800" b="1">
                <a:solidFill>
                  <a:schemeClr val="tx1"/>
                </a:solidFill>
                <a:latin typeface="+mn-lt"/>
                <a:sym typeface="Palatino"/>
              </a:rPr>
              <a:t>og</a:t>
            </a:r>
            <a:r>
              <a:rPr lang="da-DK" sz="1800">
                <a:solidFill>
                  <a:schemeClr val="tx1"/>
                </a:solidFill>
                <a:latin typeface="+mn-lt"/>
                <a:sym typeface="Palatino"/>
              </a:rPr>
              <a:t> i sundhedsreform</a:t>
            </a:r>
            <a:br>
              <a:rPr lang="da-DK" sz="1800">
                <a:solidFill>
                  <a:schemeClr val="tx1"/>
                </a:solidFill>
                <a:latin typeface="+mn-lt"/>
                <a:sym typeface="Palatino"/>
              </a:rPr>
            </a:br>
            <a:endParaRPr lang="da-DK" sz="1800">
              <a:solidFill>
                <a:schemeClr val="tx1"/>
              </a:solidFill>
              <a:latin typeface="+mn-lt"/>
              <a:sym typeface="Palatino"/>
            </a:endParaRPr>
          </a:p>
          <a:p>
            <a:pPr marL="358775" lvl="2" indent="-179388" algn="l">
              <a:spcBef>
                <a:spcPts val="0"/>
              </a:spcBef>
              <a:spcAft>
                <a:spcPts val="300"/>
              </a:spcAft>
              <a:buNone/>
            </a:pPr>
            <a:endParaRPr lang="da-DK" sz="1800" b="1">
              <a:solidFill>
                <a:schemeClr val="tx1"/>
              </a:solidFill>
              <a:latin typeface="+mj-lt"/>
              <a:sym typeface="Palatino"/>
            </a:endParaRPr>
          </a:p>
        </p:txBody>
      </p:sp>
      <p:pic>
        <p:nvPicPr>
          <p:cNvPr id="23" name="Pladsholder til indhold 22" descr="Et billede, der indeholder person&#10;&#10;Automatisk genereret beskrivelse">
            <a:extLst>
              <a:ext uri="{FF2B5EF4-FFF2-40B4-BE49-F238E27FC236}">
                <a16:creationId xmlns:a16="http://schemas.microsoft.com/office/drawing/2014/main" id="{599E8460-AD03-419E-9312-620BEF1C47C5}"/>
              </a:ext>
            </a:extLst>
          </p:cNvPr>
          <p:cNvPicPr>
            <a:picLocks noGrp="1" noChangeAspect="1"/>
          </p:cNvPicPr>
          <p:nvPr>
            <p:ph sz="quarter" idx="14"/>
          </p:nvPr>
        </p:nvPicPr>
        <p:blipFill rotWithShape="1">
          <a:blip r:embed="rId6" cstate="print">
            <a:extLst>
              <a:ext uri="{28A0092B-C50C-407E-A947-70E740481C1C}">
                <a14:useLocalDpi xmlns:a14="http://schemas.microsoft.com/office/drawing/2010/main"/>
              </a:ext>
            </a:extLst>
          </a:blip>
          <a:srcRect t="-154"/>
          <a:stretch/>
        </p:blipFill>
        <p:spPr>
          <a:xfrm>
            <a:off x="6232524" y="1722558"/>
            <a:ext cx="5483225" cy="4483576"/>
          </a:xfrm>
        </p:spPr>
      </p:pic>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a:xfrm>
            <a:off x="691115" y="233406"/>
            <a:ext cx="11032595" cy="965156"/>
          </a:xfrm>
        </p:spPr>
        <p:txBody>
          <a:bodyPr>
            <a:normAutofit/>
          </a:bodyPr>
          <a:lstStyle/>
          <a:p>
            <a:pPr algn="l"/>
            <a:r>
              <a:rPr lang="da-DK" sz="3400"/>
              <a:t>Værdig sundhed, omsorg og pleje</a:t>
            </a:r>
          </a:p>
        </p:txBody>
      </p:sp>
      <p:pic>
        <p:nvPicPr>
          <p:cNvPr id="13" name="Picture 34">
            <a:extLst>
              <a:ext uri="{FF2B5EF4-FFF2-40B4-BE49-F238E27FC236}">
                <a16:creationId xmlns:a16="http://schemas.microsoft.com/office/drawing/2014/main" id="{9F00AD90-CD3A-4733-93F6-70A553BA804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015330" y="328335"/>
            <a:ext cx="1029824" cy="1030725"/>
          </a:xfrm>
          <a:prstGeom prst="rect">
            <a:avLst/>
          </a:prstGeom>
        </p:spPr>
      </p:pic>
    </p:spTree>
    <p:extLst>
      <p:ext uri="{BB962C8B-B14F-4D97-AF65-F5344CB8AC3E}">
        <p14:creationId xmlns:p14="http://schemas.microsoft.com/office/powerpoint/2010/main" val="3140689929"/>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a:extLst>
              <a:ext uri="{FF2B5EF4-FFF2-40B4-BE49-F238E27FC236}">
                <a16:creationId xmlns:a16="http://schemas.microsoft.com/office/drawing/2014/main" id="{B230EF6E-2BCA-2614-82AE-7E014F6C13A2}"/>
              </a:ext>
            </a:extLst>
          </p:cNvPr>
          <p:cNvSpPr>
            <a:spLocks noGrp="1"/>
          </p:cNvSpPr>
          <p:nvPr>
            <p:ph sz="half" idx="1"/>
          </p:nvPr>
        </p:nvSpPr>
        <p:spPr>
          <a:xfrm>
            <a:off x="414338" y="1677988"/>
            <a:ext cx="5541962" cy="4479925"/>
          </a:xfrm>
        </p:spPr>
        <p:txBody>
          <a:bodyPr>
            <a:normAutofit fontScale="92500"/>
          </a:bodyPr>
          <a:lstStyle/>
          <a:p>
            <a:pPr marL="342900" indent="-342900">
              <a:buFont typeface="Arial" panose="020B0604020202020204" pitchFamily="34" charset="0"/>
              <a:buChar char="•"/>
            </a:pPr>
            <a:r>
              <a:rPr lang="da-DK" sz="2000" dirty="0"/>
              <a:t>5 regioner bliver til 4</a:t>
            </a:r>
          </a:p>
          <a:p>
            <a:pPr marL="342900" indent="-342900">
              <a:buFont typeface="Arial" panose="020B0604020202020204" pitchFamily="34" charset="0"/>
              <a:buChar char="•"/>
            </a:pPr>
            <a:r>
              <a:rPr lang="da-DK" sz="2000" dirty="0"/>
              <a:t>De kommende 17 sundhedsråd bliver motoren i det nære sundhedsvæsen, afgørende vigtigt for ældre</a:t>
            </a:r>
          </a:p>
          <a:p>
            <a:pPr marL="342900" indent="-342900">
              <a:buFont typeface="Arial" panose="020B0604020202020204" pitchFamily="34" charset="0"/>
              <a:buChar char="•"/>
            </a:pPr>
            <a:r>
              <a:rPr lang="da-DK" sz="2000" dirty="0"/>
              <a:t>Ældre Sagens 98 koordinationsudvalg/solitære afdelinger skal samarbejde om indflydelse på rådene via 17 </a:t>
            </a:r>
            <a:r>
              <a:rPr lang="da-DK" sz="2000" dirty="0" err="1"/>
              <a:t>PPU’er</a:t>
            </a:r>
            <a:endParaRPr lang="da-DK" sz="2000" dirty="0"/>
          </a:p>
          <a:p>
            <a:pPr marL="342900" indent="-342900">
              <a:buFont typeface="Arial" panose="020B0604020202020204" pitchFamily="34" charset="0"/>
              <a:buChar char="•"/>
            </a:pPr>
            <a:r>
              <a:rPr lang="da-DK" sz="2000" dirty="0"/>
              <a:t>Vi vil styrke sekretariatets sundhedspolitiske støtte til vores frivillige </a:t>
            </a:r>
          </a:p>
          <a:p>
            <a:pPr marL="768350" lvl="2" indent="-342900">
              <a:buFont typeface="Arial" panose="020B0604020202020204" pitchFamily="34" charset="0"/>
              <a:buChar char="•"/>
            </a:pPr>
            <a:r>
              <a:rPr lang="da-DK" sz="2000" dirty="0"/>
              <a:t>Sundhedspolitisk-faglig viden af høj kvalitet</a:t>
            </a:r>
          </a:p>
          <a:p>
            <a:pPr marL="768350" lvl="2" indent="-342900">
              <a:buFont typeface="Arial" panose="020B0604020202020204" pitchFamily="34" charset="0"/>
              <a:buChar char="•"/>
            </a:pPr>
            <a:r>
              <a:rPr lang="da-DK" sz="2000" dirty="0"/>
              <a:t>Uddannelse </a:t>
            </a:r>
          </a:p>
          <a:p>
            <a:pPr marL="768350" lvl="2" indent="-342900">
              <a:buFont typeface="Arial" panose="020B0604020202020204" pitchFamily="34" charset="0"/>
              <a:buChar char="•"/>
            </a:pPr>
            <a:r>
              <a:rPr lang="da-DK" sz="2000" dirty="0"/>
              <a:t>Netværk</a:t>
            </a:r>
          </a:p>
          <a:p>
            <a:pPr marL="768350" lvl="2" indent="-342900">
              <a:buFont typeface="Arial" panose="020B0604020202020204" pitchFamily="34" charset="0"/>
              <a:buChar char="•"/>
            </a:pPr>
            <a:r>
              <a:rPr lang="da-DK" sz="2000" dirty="0"/>
              <a:t>Vidensdeling mellem frivillige</a:t>
            </a:r>
          </a:p>
          <a:p>
            <a:pPr marL="768350" lvl="2" indent="-342900">
              <a:buFont typeface="Arial" panose="020B0604020202020204" pitchFamily="34" charset="0"/>
              <a:buChar char="•"/>
            </a:pPr>
            <a:r>
              <a:rPr lang="da-DK" sz="2000" dirty="0"/>
              <a:t>Styrket Rejsehold</a:t>
            </a:r>
            <a:endParaRPr lang="da-DK" dirty="0"/>
          </a:p>
        </p:txBody>
      </p:sp>
      <p:sp>
        <p:nvSpPr>
          <p:cNvPr id="12" name="Date Placeholder 3">
            <a:extLst>
              <a:ext uri="{FF2B5EF4-FFF2-40B4-BE49-F238E27FC236}">
                <a16:creationId xmlns:a16="http://schemas.microsoft.com/office/drawing/2014/main" id="{09037525-1989-D8BF-67C2-5B2A0E0D40BE}"/>
              </a:ext>
            </a:extLst>
          </p:cNvPr>
          <p:cNvSpPr>
            <a:spLocks noGrp="1"/>
          </p:cNvSpPr>
          <p:nvPr>
            <p:ph type="dt" sz="half" idx="10"/>
          </p:nvPr>
        </p:nvSpPr>
        <p:spPr>
          <a:xfrm>
            <a:off x="8866188" y="6577013"/>
            <a:ext cx="1939925" cy="273050"/>
          </a:xfrm>
        </p:spPr>
        <p:txBody>
          <a:bodyPr/>
          <a:lstStyle/>
          <a:p>
            <a:endParaRPr lang="da-DK"/>
          </a:p>
        </p:txBody>
      </p:sp>
      <p:sp>
        <p:nvSpPr>
          <p:cNvPr id="6" name="Titel 5">
            <a:extLst>
              <a:ext uri="{FF2B5EF4-FFF2-40B4-BE49-F238E27FC236}">
                <a16:creationId xmlns:a16="http://schemas.microsoft.com/office/drawing/2014/main" id="{A2A5A8B9-4217-DF21-F5B8-D251C053B026}"/>
              </a:ext>
            </a:extLst>
          </p:cNvPr>
          <p:cNvSpPr>
            <a:spLocks noGrp="1"/>
          </p:cNvSpPr>
          <p:nvPr>
            <p:ph type="title"/>
          </p:nvPr>
        </p:nvSpPr>
        <p:spPr>
          <a:xfrm>
            <a:off x="414337" y="419100"/>
            <a:ext cx="11361737" cy="839788"/>
          </a:xfrm>
        </p:spPr>
        <p:txBody>
          <a:bodyPr anchor="t">
            <a:normAutofit/>
          </a:bodyPr>
          <a:lstStyle/>
          <a:p>
            <a:r>
              <a:rPr lang="da-DK"/>
              <a:t>Sundhedsreformen….!</a:t>
            </a:r>
          </a:p>
        </p:txBody>
      </p:sp>
    </p:spTree>
    <p:extLst>
      <p:ext uri="{BB962C8B-B14F-4D97-AF65-F5344CB8AC3E}">
        <p14:creationId xmlns:p14="http://schemas.microsoft.com/office/powerpoint/2010/main" val="1223216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p:cNvSpPr>
            <a:spLocks noGrp="1"/>
          </p:cNvSpPr>
          <p:nvPr>
            <p:ph type="title"/>
          </p:nvPr>
        </p:nvSpPr>
        <p:spPr/>
        <p:txBody>
          <a:bodyPr>
            <a:normAutofit/>
          </a:bodyPr>
          <a:lstStyle/>
          <a:p>
            <a:r>
              <a:rPr lang="da-DK"/>
              <a:t>Politisk udfordring for Ældre Sagen i 2026</a:t>
            </a:r>
          </a:p>
        </p:txBody>
      </p:sp>
      <p:sp>
        <p:nvSpPr>
          <p:cNvPr id="17" name="Pladsholder til indhold 16"/>
          <p:cNvSpPr>
            <a:spLocks noGrp="1"/>
          </p:cNvSpPr>
          <p:nvPr>
            <p:ph sz="quarter" idx="13"/>
          </p:nvPr>
        </p:nvSpPr>
        <p:spPr/>
        <p:txBody>
          <a:bodyPr anchor="t">
            <a:normAutofit fontScale="40000" lnSpcReduction="20000"/>
          </a:bodyPr>
          <a:lstStyle/>
          <a:p>
            <a:pPr>
              <a:lnSpc>
                <a:spcPct val="120000"/>
              </a:lnSpc>
            </a:pPr>
            <a:r>
              <a:rPr lang="da-DK" sz="5100"/>
              <a:t>Det politiske rum, Ældre Sagen har at agere i, vil være ”iltfattigt”, fordi:</a:t>
            </a:r>
          </a:p>
          <a:p>
            <a:pPr marL="342900" indent="-342900">
              <a:lnSpc>
                <a:spcPct val="120000"/>
              </a:lnSpc>
              <a:buFont typeface="Arial" panose="020B0604020202020204" pitchFamily="34" charset="0"/>
              <a:buChar char="•"/>
            </a:pPr>
            <a:r>
              <a:rPr lang="da-DK" sz="5100"/>
              <a:t>Geo/</a:t>
            </a:r>
            <a:r>
              <a:rPr lang="da-DK" sz="5100" err="1"/>
              <a:t>sikkerheds-politiske</a:t>
            </a:r>
            <a:r>
              <a:rPr lang="da-DK" sz="5100"/>
              <a:t> situation højrisikabel, suger al politisk opmærksomhed</a:t>
            </a:r>
          </a:p>
          <a:p>
            <a:pPr marL="342900" indent="-342900">
              <a:lnSpc>
                <a:spcPct val="120000"/>
              </a:lnSpc>
              <a:buFont typeface="Arial" panose="020B0604020202020204" pitchFamily="34" charset="0"/>
              <a:buChar char="•"/>
            </a:pPr>
            <a:r>
              <a:rPr lang="da-DK" sz="5100"/>
              <a:t>To store reformer vedtaget i 2024. Man vil sige til os: </a:t>
            </a:r>
            <a:br>
              <a:rPr lang="da-DK" sz="5100"/>
            </a:br>
            <a:br>
              <a:rPr lang="da-DK" sz="5100"/>
            </a:br>
            <a:r>
              <a:rPr lang="da-DK" sz="5100"/>
              <a:t>”I </a:t>
            </a:r>
            <a:r>
              <a:rPr lang="da-DK" sz="5100" u="sng"/>
              <a:t>har</a:t>
            </a:r>
            <a:r>
              <a:rPr lang="da-DK" sz="5100"/>
              <a:t> fået både ny ældrelov og ny sundhedsreform (25-års-hændelser!); de skal til at virke nu”. </a:t>
            </a:r>
            <a:br>
              <a:rPr lang="da-DK" sz="5100"/>
            </a:br>
            <a:r>
              <a:rPr lang="da-DK" sz="5100"/>
              <a:t>Døren for større ændringer derfor lukket i flere år</a:t>
            </a:r>
          </a:p>
          <a:p>
            <a:pPr marL="342900" indent="-342900">
              <a:lnSpc>
                <a:spcPct val="120000"/>
              </a:lnSpc>
              <a:buFont typeface="Arial" panose="020B0604020202020204" pitchFamily="34" charset="0"/>
              <a:buChar char="•"/>
            </a:pPr>
            <a:endParaRPr lang="da-DK" sz="5100"/>
          </a:p>
          <a:p>
            <a:pPr marL="342900" indent="-342900">
              <a:lnSpc>
                <a:spcPct val="120000"/>
              </a:lnSpc>
              <a:buFont typeface="Arial" panose="020B0604020202020204" pitchFamily="34" charset="0"/>
              <a:buChar char="•"/>
            </a:pPr>
            <a:r>
              <a:rPr lang="da-DK" sz="5100"/>
              <a:t>”Vores” områder bliver klemt, både økonomisk og beskæftigelsesmæssigt; voldsom satsning på et styrket forsvar vil:</a:t>
            </a:r>
          </a:p>
          <a:p>
            <a:pPr marL="768350" lvl="2" indent="-342900">
              <a:lnSpc>
                <a:spcPct val="120000"/>
              </a:lnSpc>
              <a:buFontTx/>
              <a:buChar char="-"/>
            </a:pPr>
            <a:r>
              <a:rPr lang="da-DK" sz="5100"/>
              <a:t>Reducere det finanspolitiske råderum</a:t>
            </a:r>
          </a:p>
          <a:p>
            <a:pPr marL="768350" lvl="2" indent="-342900">
              <a:lnSpc>
                <a:spcPct val="120000"/>
              </a:lnSpc>
              <a:buFontTx/>
              <a:buChar char="-"/>
            </a:pPr>
            <a:r>
              <a:rPr lang="da-DK" sz="5100"/>
              <a:t>Suge arbejdskraft (inkl. den nye kvindelige værnepligt)</a:t>
            </a:r>
          </a:p>
          <a:p>
            <a:pPr marL="0" indent="0">
              <a:lnSpc>
                <a:spcPct val="120000"/>
              </a:lnSpc>
              <a:buNone/>
            </a:pPr>
            <a:br>
              <a:rPr lang="da-DK" sz="4400"/>
            </a:br>
            <a:r>
              <a:rPr lang="da-DK"/>
              <a:t> </a:t>
            </a:r>
          </a:p>
        </p:txBody>
      </p:sp>
    </p:spTree>
    <p:extLst>
      <p:ext uri="{BB962C8B-B14F-4D97-AF65-F5344CB8AC3E}">
        <p14:creationId xmlns:p14="http://schemas.microsoft.com/office/powerpoint/2010/main" val="1949674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DDDDD1-B2D8-8DF9-0DFF-299D7D169002}"/>
              </a:ext>
            </a:extLst>
          </p:cNvPr>
          <p:cNvSpPr>
            <a:spLocks noGrp="1"/>
          </p:cNvSpPr>
          <p:nvPr>
            <p:ph type="title"/>
          </p:nvPr>
        </p:nvSpPr>
        <p:spPr>
          <a:xfrm>
            <a:off x="414337" y="438978"/>
            <a:ext cx="11361737" cy="839788"/>
          </a:xfrm>
        </p:spPr>
        <p:txBody>
          <a:bodyPr/>
          <a:lstStyle/>
          <a:p>
            <a:r>
              <a:rPr lang="da-DK"/>
              <a:t>Politiske muligheder for Ældre Sagen i 2026, trods ”iltmangel”</a:t>
            </a:r>
            <a:br>
              <a:rPr lang="da-DK"/>
            </a:br>
            <a:endParaRPr lang="da-DK" sz="2400"/>
          </a:p>
        </p:txBody>
      </p:sp>
      <p:sp>
        <p:nvSpPr>
          <p:cNvPr id="3" name="Pladsholder til dato 2">
            <a:extLst>
              <a:ext uri="{FF2B5EF4-FFF2-40B4-BE49-F238E27FC236}">
                <a16:creationId xmlns:a16="http://schemas.microsoft.com/office/drawing/2014/main" id="{BCF061CF-0A26-EB09-5243-DB99607DB0D6}"/>
              </a:ext>
            </a:extLst>
          </p:cNvPr>
          <p:cNvSpPr>
            <a:spLocks noGrp="1"/>
          </p:cNvSpPr>
          <p:nvPr>
            <p:ph type="dt" sz="half" idx="10"/>
          </p:nvPr>
        </p:nvSpPr>
        <p:spPr/>
        <p:txBody>
          <a:bodyPr/>
          <a:lstStyle/>
          <a:p>
            <a:endParaRPr lang="da-DK"/>
          </a:p>
        </p:txBody>
      </p:sp>
      <p:sp>
        <p:nvSpPr>
          <p:cNvPr id="5" name="Pladsholder til indhold 4">
            <a:extLst>
              <a:ext uri="{FF2B5EF4-FFF2-40B4-BE49-F238E27FC236}">
                <a16:creationId xmlns:a16="http://schemas.microsoft.com/office/drawing/2014/main" id="{A5DFDA76-3400-66D9-3124-8743496C0A3F}"/>
              </a:ext>
            </a:extLst>
          </p:cNvPr>
          <p:cNvSpPr>
            <a:spLocks noGrp="1"/>
          </p:cNvSpPr>
          <p:nvPr>
            <p:ph sz="quarter" idx="13"/>
          </p:nvPr>
        </p:nvSpPr>
        <p:spPr>
          <a:xfrm>
            <a:off x="414337" y="1189037"/>
            <a:ext cx="11361737" cy="4479925"/>
          </a:xfrm>
        </p:spPr>
        <p:txBody>
          <a:bodyPr/>
          <a:lstStyle/>
          <a:p>
            <a:pPr marL="342900" indent="-342900">
              <a:buFont typeface="Arial" panose="020B0604020202020204" pitchFamily="34" charset="0"/>
              <a:buChar char="•"/>
            </a:pPr>
            <a:r>
              <a:rPr lang="da-DK" sz="2000"/>
              <a:t>Dokumentere, hvordan de uklare ”kan”-dele af ældreloven i mange kommuner reelt ikke giver store forbedringer for svækkede ældre – med solid dokumentation fra Rejseholdet</a:t>
            </a:r>
          </a:p>
          <a:p>
            <a:pPr marL="342900" indent="-342900">
              <a:buFont typeface="Arial" panose="020B0604020202020204" pitchFamily="34" charset="0"/>
              <a:buChar char="•"/>
            </a:pPr>
            <a:r>
              <a:rPr lang="da-DK" sz="2000"/>
              <a:t>Bruge Rådgivningens registrering af sager om omsorgssvigt-sager: Kritik af slappere tilsyn under ny ældrelov</a:t>
            </a:r>
          </a:p>
          <a:p>
            <a:pPr marL="342900" indent="-342900">
              <a:buFont typeface="Arial" panose="020B0604020202020204" pitchFamily="34" charset="0"/>
              <a:buChar char="•"/>
            </a:pPr>
            <a:r>
              <a:rPr lang="da-DK" sz="2000"/>
              <a:t>Bruge nyeste dokumentation </a:t>
            </a:r>
            <a:br>
              <a:rPr lang="da-DK" sz="2000"/>
            </a:br>
            <a:r>
              <a:rPr lang="da-DK" sz="2000"/>
              <a:t>- tal fra ny stor undersøgelse om hjemmehjælpsløshed</a:t>
            </a:r>
            <a:br>
              <a:rPr lang="da-DK" sz="2000"/>
            </a:br>
            <a:r>
              <a:rPr lang="da-DK" sz="2000"/>
              <a:t>- mangel på rengøring hos mange</a:t>
            </a:r>
            <a:br>
              <a:rPr lang="da-DK" sz="2000"/>
            </a:br>
            <a:r>
              <a:rPr lang="da-DK" sz="2000"/>
              <a:t>- mangel/afvisning på hjælp gør mere ondt på den ældre end svækkelsen i sig selv</a:t>
            </a:r>
            <a:br>
              <a:rPr lang="da-DK" sz="2000"/>
            </a:br>
            <a:r>
              <a:rPr lang="da-DK" sz="2000"/>
              <a:t>- mangel på plejehjem</a:t>
            </a:r>
            <a:br>
              <a:rPr lang="da-DK" sz="2000"/>
            </a:br>
            <a:r>
              <a:rPr lang="da-DK" sz="2000"/>
              <a:t>- dårlige normeringer på plejehjem </a:t>
            </a:r>
          </a:p>
          <a:p>
            <a:pPr marL="342900" indent="-342900">
              <a:buFont typeface="Arial" panose="020B0604020202020204" pitchFamily="34" charset="0"/>
              <a:buChar char="•"/>
            </a:pPr>
            <a:r>
              <a:rPr lang="da-DK" sz="2000"/>
              <a:t>Stå fast på en dagsorden om retssikkerhed for svækkede ældre</a:t>
            </a:r>
          </a:p>
          <a:p>
            <a:pPr marL="342900" indent="-342900">
              <a:buFont typeface="Arial" panose="020B0604020202020204" pitchFamily="34" charset="0"/>
              <a:buChar char="•"/>
            </a:pPr>
            <a:r>
              <a:rPr lang="da-DK" sz="2000"/>
              <a:t>Fortsat påpege, hvordan pårørende presses og klemmes; pege på løsninger </a:t>
            </a:r>
          </a:p>
          <a:p>
            <a:endParaRPr lang="da-DK" sz="2000"/>
          </a:p>
          <a:p>
            <a:r>
              <a:rPr lang="da-DK" sz="2000" b="1" i="1"/>
              <a:t>Alt dette kan dokumenteres op til Folketingsvalg 2026</a:t>
            </a:r>
          </a:p>
          <a:p>
            <a:endParaRPr lang="da-DK"/>
          </a:p>
        </p:txBody>
      </p:sp>
    </p:spTree>
    <p:extLst>
      <p:ext uri="{BB962C8B-B14F-4D97-AF65-F5344CB8AC3E}">
        <p14:creationId xmlns:p14="http://schemas.microsoft.com/office/powerpoint/2010/main" val="27783746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87E84C-D14F-7389-3ADD-D03042FAC472}"/>
              </a:ext>
            </a:extLst>
          </p:cNvPr>
          <p:cNvSpPr>
            <a:spLocks noGrp="1"/>
          </p:cNvSpPr>
          <p:nvPr>
            <p:ph type="title"/>
          </p:nvPr>
        </p:nvSpPr>
        <p:spPr/>
        <p:txBody>
          <a:bodyPr/>
          <a:lstStyle/>
          <a:p>
            <a:r>
              <a:rPr lang="da-DK"/>
              <a:t>Vi skal i 2026 følge op på KV25</a:t>
            </a:r>
            <a:br>
              <a:rPr lang="da-DK"/>
            </a:br>
            <a:endParaRPr lang="da-DK"/>
          </a:p>
        </p:txBody>
      </p:sp>
      <p:sp>
        <p:nvSpPr>
          <p:cNvPr id="3" name="Pladsholder til dato 2">
            <a:extLst>
              <a:ext uri="{FF2B5EF4-FFF2-40B4-BE49-F238E27FC236}">
                <a16:creationId xmlns:a16="http://schemas.microsoft.com/office/drawing/2014/main" id="{90D6BEE9-05F4-6B83-5A17-0780649F41C4}"/>
              </a:ext>
            </a:extLst>
          </p:cNvPr>
          <p:cNvSpPr>
            <a:spLocks noGrp="1"/>
          </p:cNvSpPr>
          <p:nvPr>
            <p:ph type="dt" sz="half" idx="10"/>
          </p:nvPr>
        </p:nvSpPr>
        <p:spPr/>
        <p:txBody>
          <a:bodyPr/>
          <a:lstStyle/>
          <a:p>
            <a:endParaRPr lang="da-DK"/>
          </a:p>
        </p:txBody>
      </p:sp>
      <p:sp>
        <p:nvSpPr>
          <p:cNvPr id="5" name="Pladsholder til indhold 4">
            <a:extLst>
              <a:ext uri="{FF2B5EF4-FFF2-40B4-BE49-F238E27FC236}">
                <a16:creationId xmlns:a16="http://schemas.microsoft.com/office/drawing/2014/main" id="{608AE0E7-C766-4ADC-27D2-4B5AA37BA07E}"/>
              </a:ext>
            </a:extLst>
          </p:cNvPr>
          <p:cNvSpPr>
            <a:spLocks noGrp="1"/>
          </p:cNvSpPr>
          <p:nvPr>
            <p:ph sz="quarter" idx="13"/>
          </p:nvPr>
        </p:nvSpPr>
        <p:spPr>
          <a:xfrm>
            <a:off x="414337" y="1258888"/>
            <a:ext cx="11361737" cy="4479925"/>
          </a:xfrm>
        </p:spPr>
        <p:txBody>
          <a:bodyPr/>
          <a:lstStyle/>
          <a:p>
            <a:pPr marL="342900" indent="-342900">
              <a:buFont typeface="Arial" panose="020B0604020202020204" pitchFamily="34" charset="0"/>
              <a:buChar char="•"/>
            </a:pPr>
            <a:r>
              <a:rPr lang="da-DK" sz="2100"/>
              <a:t>Fastholdelse af kommunerne på deres ansvar.  Kræver omfattende dokumentation.</a:t>
            </a:r>
          </a:p>
          <a:p>
            <a:pPr marL="342900" indent="-342900">
              <a:buFont typeface="Arial" panose="020B0604020202020204" pitchFamily="34" charset="0"/>
              <a:buChar char="•"/>
            </a:pPr>
            <a:r>
              <a:rPr lang="da-DK" sz="2100"/>
              <a:t>Undersøgelser af fx:</a:t>
            </a:r>
          </a:p>
          <a:p>
            <a:pPr marL="1066800" lvl="3" indent="-457200">
              <a:buFont typeface="Arial" panose="020B0604020202020204" pitchFamily="34" charset="0"/>
              <a:buChar char="•"/>
            </a:pPr>
            <a:r>
              <a:rPr lang="da-DK" sz="2100"/>
              <a:t>Kontinuiteten?</a:t>
            </a:r>
          </a:p>
          <a:p>
            <a:pPr marL="1066800" lvl="3" indent="-457200">
              <a:buFont typeface="Arial" panose="020B0604020202020204" pitchFamily="34" charset="0"/>
              <a:buChar char="•"/>
            </a:pPr>
            <a:r>
              <a:rPr lang="da-DK" sz="2100"/>
              <a:t>Tilstrækkelig hjælp?</a:t>
            </a:r>
          </a:p>
          <a:p>
            <a:pPr marL="1066800" lvl="3" indent="-457200">
              <a:buFont typeface="Arial" panose="020B0604020202020204" pitchFamily="34" charset="0"/>
              <a:buChar char="•"/>
            </a:pPr>
            <a:r>
              <a:rPr lang="da-DK" sz="2100"/>
              <a:t>Hvad betyder helhedspleje for svækkede ældre?</a:t>
            </a:r>
          </a:p>
          <a:p>
            <a:pPr marL="1066800" lvl="3" indent="-457200">
              <a:buFont typeface="Arial" panose="020B0604020202020204" pitchFamily="34" charset="0"/>
              <a:buChar char="•"/>
            </a:pPr>
            <a:r>
              <a:rPr lang="da-DK" sz="2100"/>
              <a:t>Analyse af tværfaglige teams</a:t>
            </a:r>
          </a:p>
          <a:p>
            <a:pPr marL="342900" indent="-342900">
              <a:buFont typeface="Arial" panose="020B0604020202020204" pitchFamily="34" charset="0"/>
              <a:buChar char="•"/>
            </a:pPr>
            <a:r>
              <a:rPr lang="da-DK" sz="2100"/>
              <a:t>Rettighedsregimet skal genopbygges, hvor det er nødvendigt</a:t>
            </a:r>
          </a:p>
          <a:p>
            <a:pPr marL="1066800" lvl="3" indent="-457200">
              <a:buFont typeface="Arial" panose="020B0604020202020204" pitchFamily="34" charset="0"/>
              <a:buChar char="•"/>
            </a:pPr>
            <a:r>
              <a:rPr lang="da-DK" sz="2100"/>
              <a:t>Sociale og velfærdsteknologiske borgerrettigheder</a:t>
            </a:r>
          </a:p>
          <a:p>
            <a:pPr marL="1066800" lvl="3" indent="-457200">
              <a:buFont typeface="Arial" panose="020B0604020202020204" pitchFamily="34" charset="0"/>
              <a:buChar char="•"/>
            </a:pPr>
            <a:r>
              <a:rPr lang="da-DK" sz="2100"/>
              <a:t>Fik kommunerne sendt visitationspersonalet ud i plejen?</a:t>
            </a:r>
          </a:p>
          <a:p>
            <a:pPr marL="1066800" lvl="3" indent="-457200">
              <a:buFont typeface="Arial" panose="020B0604020202020204" pitchFamily="34" charset="0"/>
              <a:buChar char="•"/>
            </a:pPr>
            <a:r>
              <a:rPr lang="da-DK" sz="2100"/>
              <a:t>Blev de hjemmelavede kommunale regler fjernet?</a:t>
            </a:r>
          </a:p>
          <a:p>
            <a:pPr marL="342900" indent="-342900">
              <a:buFont typeface="Arial" panose="020B0604020202020204" pitchFamily="34" charset="0"/>
              <a:buChar char="•"/>
            </a:pPr>
            <a:r>
              <a:rPr lang="da-DK" sz="2100"/>
              <a:t>Teknologien: Ingen ny teknologi uden et menneske ved siden af</a:t>
            </a:r>
          </a:p>
          <a:p>
            <a:r>
              <a:rPr lang="da-DK" sz="2400"/>
              <a:t>	</a:t>
            </a:r>
          </a:p>
          <a:p>
            <a:pPr marL="1066800" lvl="3" indent="-457200">
              <a:buFont typeface="Arial" panose="020B0604020202020204" pitchFamily="34" charset="0"/>
              <a:buChar char="•"/>
            </a:pPr>
            <a:endParaRPr lang="da-DK" sz="2000"/>
          </a:p>
          <a:p>
            <a:pPr lvl="3"/>
            <a:endParaRPr lang="da-DK" sz="2000"/>
          </a:p>
          <a:p>
            <a:endParaRPr lang="da-DK"/>
          </a:p>
        </p:txBody>
      </p:sp>
    </p:spTree>
    <p:extLst>
      <p:ext uri="{BB962C8B-B14F-4D97-AF65-F5344CB8AC3E}">
        <p14:creationId xmlns:p14="http://schemas.microsoft.com/office/powerpoint/2010/main" val="37174583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Undertitel 42">
            <a:extLst>
              <a:ext uri="{FF2B5EF4-FFF2-40B4-BE49-F238E27FC236}">
                <a16:creationId xmlns:a16="http://schemas.microsoft.com/office/drawing/2014/main" id="{6DF3D3F7-B1C6-AF37-A644-02F5F67BF275}"/>
              </a:ext>
            </a:extLst>
          </p:cNvPr>
          <p:cNvSpPr>
            <a:spLocks noGrp="1"/>
          </p:cNvSpPr>
          <p:nvPr>
            <p:ph type="subTitle" idx="1"/>
          </p:nvPr>
        </p:nvSpPr>
        <p:spPr>
          <a:xfrm>
            <a:off x="1066800" y="3525272"/>
            <a:ext cx="10014857" cy="3165282"/>
          </a:xfrm>
        </p:spPr>
        <p:txBody>
          <a:bodyPr>
            <a:normAutofit lnSpcReduction="10000"/>
          </a:bodyPr>
          <a:lstStyle/>
          <a:p>
            <a:r>
              <a:rPr lang="da-DK" sz="2800" i="1"/>
              <a:t>”Jeg ønsker, at der findes en kur mod demens. Alle midler skal stilles til rådighed, og alle interesserede parter skal være velkomne. På vej mod kuren vil vi finde forbedringer for mennesker med demens og deres pårørende – det handler ikke kun om medicin, men også om teknologi, kærlig pleje og et bedre hverdagsliv.”</a:t>
            </a:r>
          </a:p>
          <a:p>
            <a:pPr algn="r"/>
            <a:br>
              <a:rPr lang="da-DK"/>
            </a:br>
            <a:r>
              <a:rPr lang="da-DK" sz="1300">
                <a:solidFill>
                  <a:schemeClr val="bg1">
                    <a:lumMod val="85000"/>
                    <a:lumOff val="15000"/>
                  </a:schemeClr>
                </a:solidFill>
              </a:rPr>
              <a:t>Bjarne Hastrup, Ældre Sagen</a:t>
            </a:r>
          </a:p>
        </p:txBody>
      </p:sp>
      <p:grpSp>
        <p:nvGrpSpPr>
          <p:cNvPr id="26" name="Group 47">
            <a:extLst>
              <a:ext uri="{FF2B5EF4-FFF2-40B4-BE49-F238E27FC236}">
                <a16:creationId xmlns:a16="http://schemas.microsoft.com/office/drawing/2014/main" id="{FF66F043-8D30-FBBE-9852-6040340F35DE}"/>
              </a:ext>
            </a:extLst>
          </p:cNvPr>
          <p:cNvGrpSpPr/>
          <p:nvPr/>
        </p:nvGrpSpPr>
        <p:grpSpPr>
          <a:xfrm>
            <a:off x="-4240803" y="2340908"/>
            <a:ext cx="1080000" cy="1799840"/>
            <a:chOff x="1526122" y="3186103"/>
            <a:chExt cx="1080000" cy="1799840"/>
          </a:xfrm>
        </p:grpSpPr>
        <p:sp>
          <p:nvSpPr>
            <p:cNvPr id="27" name="Rectangle 9">
              <a:extLst>
                <a:ext uri="{FF2B5EF4-FFF2-40B4-BE49-F238E27FC236}">
                  <a16:creationId xmlns:a16="http://schemas.microsoft.com/office/drawing/2014/main" id="{F4BC387A-B9A9-0664-9FE3-AB27FC986680}"/>
                </a:ext>
              </a:extLst>
            </p:cNvPr>
            <p:cNvSpPr>
              <a:spLocks noChangeAspect="1"/>
            </p:cNvSpPr>
            <p:nvPr/>
          </p:nvSpPr>
          <p:spPr>
            <a:xfrm>
              <a:off x="1886122" y="3186103"/>
              <a:ext cx="360000" cy="360000"/>
            </a:xfrm>
            <a:prstGeom prst="rect">
              <a:avLst/>
            </a:prstGeom>
            <a:solidFill>
              <a:srgbClr val="AB202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α</a:t>
              </a:r>
              <a:endPar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endParaRPr>
            </a:p>
          </p:txBody>
        </p:sp>
        <p:sp>
          <p:nvSpPr>
            <p:cNvPr id="28" name="Rectangle 10">
              <a:extLst>
                <a:ext uri="{FF2B5EF4-FFF2-40B4-BE49-F238E27FC236}">
                  <a16:creationId xmlns:a16="http://schemas.microsoft.com/office/drawing/2014/main" id="{46CE057C-C586-3408-2508-F4ADC50B9D1A}"/>
                </a:ext>
              </a:extLst>
            </p:cNvPr>
            <p:cNvSpPr>
              <a:spLocks noChangeAspect="1"/>
            </p:cNvSpPr>
            <p:nvPr/>
          </p:nvSpPr>
          <p:spPr>
            <a:xfrm>
              <a:off x="1886122" y="3546063"/>
              <a:ext cx="360000" cy="360000"/>
            </a:xfrm>
            <a:prstGeom prst="rect">
              <a:avLst/>
            </a:prstGeom>
            <a:solidFill>
              <a:srgbClr val="233D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1</a:t>
              </a:r>
            </a:p>
          </p:txBody>
        </p:sp>
        <p:sp>
          <p:nvSpPr>
            <p:cNvPr id="29" name="Rectangle 11">
              <a:extLst>
                <a:ext uri="{FF2B5EF4-FFF2-40B4-BE49-F238E27FC236}">
                  <a16:creationId xmlns:a16="http://schemas.microsoft.com/office/drawing/2014/main" id="{2112E426-E3C1-58C3-B862-E0DBF2AA09B8}"/>
                </a:ext>
              </a:extLst>
            </p:cNvPr>
            <p:cNvSpPr>
              <a:spLocks noChangeAspect="1"/>
            </p:cNvSpPr>
            <p:nvPr/>
          </p:nvSpPr>
          <p:spPr>
            <a:xfrm>
              <a:off x="1886122" y="3906023"/>
              <a:ext cx="360000" cy="360000"/>
            </a:xfrm>
            <a:prstGeom prst="rect">
              <a:avLst/>
            </a:prstGeom>
            <a:solidFill>
              <a:srgbClr val="CF8B8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2</a:t>
              </a:r>
            </a:p>
          </p:txBody>
        </p:sp>
        <p:sp>
          <p:nvSpPr>
            <p:cNvPr id="30" name="Rectangle 13">
              <a:extLst>
                <a:ext uri="{FF2B5EF4-FFF2-40B4-BE49-F238E27FC236}">
                  <a16:creationId xmlns:a16="http://schemas.microsoft.com/office/drawing/2014/main" id="{913BDE31-5CFF-873E-47B7-CB81D6A66420}"/>
                </a:ext>
              </a:extLst>
            </p:cNvPr>
            <p:cNvSpPr>
              <a:spLocks noChangeAspect="1"/>
            </p:cNvSpPr>
            <p:nvPr/>
          </p:nvSpPr>
          <p:spPr>
            <a:xfrm>
              <a:off x="1886122" y="4265983"/>
              <a:ext cx="360000" cy="360000"/>
            </a:xfrm>
            <a:prstGeom prst="rect">
              <a:avLst/>
            </a:prstGeom>
            <a:solidFill>
              <a:srgbClr val="E0B36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3</a:t>
              </a:r>
            </a:p>
          </p:txBody>
        </p:sp>
        <p:sp>
          <p:nvSpPr>
            <p:cNvPr id="31" name="Rectangle 14">
              <a:extLst>
                <a:ext uri="{FF2B5EF4-FFF2-40B4-BE49-F238E27FC236}">
                  <a16:creationId xmlns:a16="http://schemas.microsoft.com/office/drawing/2014/main" id="{F7E092D6-3F51-B575-47B0-380D552E5059}"/>
                </a:ext>
              </a:extLst>
            </p:cNvPr>
            <p:cNvSpPr>
              <a:spLocks noChangeAspect="1"/>
            </p:cNvSpPr>
            <p:nvPr/>
          </p:nvSpPr>
          <p:spPr>
            <a:xfrm>
              <a:off x="1886122" y="4625943"/>
              <a:ext cx="360000" cy="360000"/>
            </a:xfrm>
            <a:prstGeom prst="rect">
              <a:avLst/>
            </a:prstGeom>
            <a:solidFill>
              <a:srgbClr val="3A818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4</a:t>
              </a:r>
            </a:p>
          </p:txBody>
        </p:sp>
        <p:sp>
          <p:nvSpPr>
            <p:cNvPr id="32" name="Rectangle 35">
              <a:extLst>
                <a:ext uri="{FF2B5EF4-FFF2-40B4-BE49-F238E27FC236}">
                  <a16:creationId xmlns:a16="http://schemas.microsoft.com/office/drawing/2014/main" id="{01144294-759C-20D8-64DC-FC572EF07C3F}"/>
                </a:ext>
              </a:extLst>
            </p:cNvPr>
            <p:cNvSpPr>
              <a:spLocks noChangeAspect="1"/>
            </p:cNvSpPr>
            <p:nvPr/>
          </p:nvSpPr>
          <p:spPr>
            <a:xfrm>
              <a:off x="2246122" y="3186103"/>
              <a:ext cx="360000" cy="360000"/>
            </a:xfrm>
            <a:prstGeom prst="rect">
              <a:avLst/>
            </a:prstGeom>
            <a:solidFill>
              <a:srgbClr val="E4C6B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a:t>
              </a:r>
              <a:r>
                <a:rPr kumimoji="0" lang="el-GR"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α</a:t>
              </a:r>
              <a:endPar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endParaRPr>
            </a:p>
          </p:txBody>
        </p:sp>
        <p:sp>
          <p:nvSpPr>
            <p:cNvPr id="33" name="Rectangle 36">
              <a:extLst>
                <a:ext uri="{FF2B5EF4-FFF2-40B4-BE49-F238E27FC236}">
                  <a16:creationId xmlns:a16="http://schemas.microsoft.com/office/drawing/2014/main" id="{EE5F083D-1A67-A884-16E7-8E7AE642596E}"/>
                </a:ext>
              </a:extLst>
            </p:cNvPr>
            <p:cNvSpPr>
              <a:spLocks noChangeAspect="1"/>
            </p:cNvSpPr>
            <p:nvPr/>
          </p:nvSpPr>
          <p:spPr>
            <a:xfrm>
              <a:off x="2246122" y="3546063"/>
              <a:ext cx="360000" cy="360000"/>
            </a:xfrm>
            <a:prstGeom prst="rect">
              <a:avLst/>
            </a:prstGeom>
            <a:solidFill>
              <a:srgbClr val="DEE2E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1</a:t>
              </a:r>
            </a:p>
          </p:txBody>
        </p:sp>
        <p:sp>
          <p:nvSpPr>
            <p:cNvPr id="34" name="Rectangle 39">
              <a:extLst>
                <a:ext uri="{FF2B5EF4-FFF2-40B4-BE49-F238E27FC236}">
                  <a16:creationId xmlns:a16="http://schemas.microsoft.com/office/drawing/2014/main" id="{BA74B4FE-1BD1-DEEA-4BD2-9946EAA16102}"/>
                </a:ext>
              </a:extLst>
            </p:cNvPr>
            <p:cNvSpPr>
              <a:spLocks noChangeAspect="1"/>
            </p:cNvSpPr>
            <p:nvPr/>
          </p:nvSpPr>
          <p:spPr>
            <a:xfrm>
              <a:off x="1526122" y="3186103"/>
              <a:ext cx="360000" cy="360000"/>
            </a:xfrm>
            <a:prstGeom prst="rect">
              <a:avLst/>
            </a:prstGeom>
            <a:solidFill>
              <a:srgbClr val="85161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a:t>
              </a:r>
              <a:r>
                <a:rPr kumimoji="0" lang="el-GR"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α</a:t>
              </a:r>
              <a:endPar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endParaRPr>
            </a:p>
          </p:txBody>
        </p:sp>
        <p:sp>
          <p:nvSpPr>
            <p:cNvPr id="35" name="Rectangle 40">
              <a:extLst>
                <a:ext uri="{FF2B5EF4-FFF2-40B4-BE49-F238E27FC236}">
                  <a16:creationId xmlns:a16="http://schemas.microsoft.com/office/drawing/2014/main" id="{BCA08984-CC9E-CE15-5865-2361BC1DF6F7}"/>
                </a:ext>
              </a:extLst>
            </p:cNvPr>
            <p:cNvSpPr>
              <a:spLocks noChangeAspect="1"/>
            </p:cNvSpPr>
            <p:nvPr/>
          </p:nvSpPr>
          <p:spPr>
            <a:xfrm>
              <a:off x="1526122" y="3546063"/>
              <a:ext cx="360000" cy="360000"/>
            </a:xfrm>
            <a:prstGeom prst="rect">
              <a:avLst/>
            </a:prstGeom>
            <a:solidFill>
              <a:srgbClr val="192B3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txt</a:t>
              </a:r>
            </a:p>
          </p:txBody>
        </p:sp>
        <p:sp>
          <p:nvSpPr>
            <p:cNvPr id="36" name="Rectangle 41">
              <a:extLst>
                <a:ext uri="{FF2B5EF4-FFF2-40B4-BE49-F238E27FC236}">
                  <a16:creationId xmlns:a16="http://schemas.microsoft.com/office/drawing/2014/main" id="{07BAAA09-5CD1-A250-B58E-22715DA260F0}"/>
                </a:ext>
              </a:extLst>
            </p:cNvPr>
            <p:cNvSpPr>
              <a:spLocks noChangeAspect="1"/>
            </p:cNvSpPr>
            <p:nvPr/>
          </p:nvSpPr>
          <p:spPr>
            <a:xfrm>
              <a:off x="1526122" y="3906023"/>
              <a:ext cx="360000" cy="360000"/>
            </a:xfrm>
            <a:prstGeom prst="rect">
              <a:avLst/>
            </a:prstGeom>
            <a:solidFill>
              <a:srgbClr val="BB575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2</a:t>
              </a:r>
            </a:p>
          </p:txBody>
        </p:sp>
        <p:sp>
          <p:nvSpPr>
            <p:cNvPr id="37" name="Rectangle 42">
              <a:extLst>
                <a:ext uri="{FF2B5EF4-FFF2-40B4-BE49-F238E27FC236}">
                  <a16:creationId xmlns:a16="http://schemas.microsoft.com/office/drawing/2014/main" id="{DC6053D9-0421-2477-1B61-1AC4C1748A6E}"/>
                </a:ext>
              </a:extLst>
            </p:cNvPr>
            <p:cNvSpPr>
              <a:spLocks noChangeAspect="1"/>
            </p:cNvSpPr>
            <p:nvPr/>
          </p:nvSpPr>
          <p:spPr>
            <a:xfrm>
              <a:off x="1526122" y="4265983"/>
              <a:ext cx="360000" cy="360000"/>
            </a:xfrm>
            <a:prstGeom prst="rect">
              <a:avLst/>
            </a:prstGeom>
            <a:solidFill>
              <a:srgbClr val="9D652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3</a:t>
              </a:r>
            </a:p>
          </p:txBody>
        </p:sp>
        <p:sp>
          <p:nvSpPr>
            <p:cNvPr id="38" name="Rectangle 43">
              <a:extLst>
                <a:ext uri="{FF2B5EF4-FFF2-40B4-BE49-F238E27FC236}">
                  <a16:creationId xmlns:a16="http://schemas.microsoft.com/office/drawing/2014/main" id="{D1134DDB-A1F0-7992-9A86-D8D3FFC3DF37}"/>
                </a:ext>
              </a:extLst>
            </p:cNvPr>
            <p:cNvSpPr>
              <a:spLocks noChangeAspect="1"/>
            </p:cNvSpPr>
            <p:nvPr/>
          </p:nvSpPr>
          <p:spPr>
            <a:xfrm>
              <a:off x="1526122" y="4625943"/>
              <a:ext cx="360000" cy="360000"/>
            </a:xfrm>
            <a:prstGeom prst="rect">
              <a:avLst/>
            </a:prstGeom>
            <a:solidFill>
              <a:srgbClr val="1F333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IBM Plex Sans" panose="020B0503050203000203" pitchFamily="34" charset="0"/>
                  <a:ea typeface="+mn-ea"/>
                  <a:cs typeface="+mn-cs"/>
                </a:rPr>
                <a:t>-4</a:t>
              </a:r>
            </a:p>
          </p:txBody>
        </p:sp>
        <p:sp>
          <p:nvSpPr>
            <p:cNvPr id="39" name="Rectangle 44">
              <a:extLst>
                <a:ext uri="{FF2B5EF4-FFF2-40B4-BE49-F238E27FC236}">
                  <a16:creationId xmlns:a16="http://schemas.microsoft.com/office/drawing/2014/main" id="{48AF843C-FEA2-038B-4146-8D0E79CA4D49}"/>
                </a:ext>
              </a:extLst>
            </p:cNvPr>
            <p:cNvSpPr>
              <a:spLocks noChangeAspect="1"/>
            </p:cNvSpPr>
            <p:nvPr/>
          </p:nvSpPr>
          <p:spPr>
            <a:xfrm>
              <a:off x="2246122" y="3906023"/>
              <a:ext cx="360000" cy="360000"/>
            </a:xfrm>
            <a:prstGeom prst="rect">
              <a:avLst/>
            </a:prstGeom>
            <a:solidFill>
              <a:srgbClr val="F3E7E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2</a:t>
              </a:r>
            </a:p>
          </p:txBody>
        </p:sp>
        <p:sp>
          <p:nvSpPr>
            <p:cNvPr id="40" name="Rectangle 45">
              <a:extLst>
                <a:ext uri="{FF2B5EF4-FFF2-40B4-BE49-F238E27FC236}">
                  <a16:creationId xmlns:a16="http://schemas.microsoft.com/office/drawing/2014/main" id="{10012F56-B1F8-65A3-4A89-4041EEDA19E5}"/>
                </a:ext>
              </a:extLst>
            </p:cNvPr>
            <p:cNvSpPr>
              <a:spLocks noChangeAspect="1"/>
            </p:cNvSpPr>
            <p:nvPr/>
          </p:nvSpPr>
          <p:spPr>
            <a:xfrm>
              <a:off x="2246122" y="4265983"/>
              <a:ext cx="360000" cy="360000"/>
            </a:xfrm>
            <a:prstGeom prst="rect">
              <a:avLst/>
            </a:prstGeom>
            <a:solidFill>
              <a:srgbClr val="FBE5C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3</a:t>
              </a:r>
            </a:p>
          </p:txBody>
        </p:sp>
        <p:sp>
          <p:nvSpPr>
            <p:cNvPr id="41" name="Rectangle 46">
              <a:extLst>
                <a:ext uri="{FF2B5EF4-FFF2-40B4-BE49-F238E27FC236}">
                  <a16:creationId xmlns:a16="http://schemas.microsoft.com/office/drawing/2014/main" id="{EE9B39EA-376B-E50E-AC23-5CE288C6407E}"/>
                </a:ext>
              </a:extLst>
            </p:cNvPr>
            <p:cNvSpPr>
              <a:spLocks noChangeAspect="1"/>
            </p:cNvSpPr>
            <p:nvPr/>
          </p:nvSpPr>
          <p:spPr>
            <a:xfrm>
              <a:off x="2246122" y="4625943"/>
              <a:ext cx="360000" cy="360000"/>
            </a:xfrm>
            <a:prstGeom prst="rect">
              <a:avLst/>
            </a:prstGeom>
            <a:solidFill>
              <a:srgbClr val="CCEEE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92B37"/>
                  </a:solidFill>
                  <a:effectLst/>
                  <a:uLnTx/>
                  <a:uFillTx/>
                  <a:latin typeface="IBM Plex Sans" panose="020B0503050203000203" pitchFamily="34" charset="0"/>
                  <a:ea typeface="+mn-ea"/>
                  <a:cs typeface="+mn-cs"/>
                </a:rPr>
                <a:t>+4</a:t>
              </a:r>
            </a:p>
          </p:txBody>
        </p:sp>
      </p:grpSp>
      <p:pic>
        <p:nvPicPr>
          <p:cNvPr id="45" name="Billede 44">
            <a:extLst>
              <a:ext uri="{FF2B5EF4-FFF2-40B4-BE49-F238E27FC236}">
                <a16:creationId xmlns:a16="http://schemas.microsoft.com/office/drawing/2014/main" id="{9FE80E08-3BF0-58E4-2EB9-0C22F9A56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8171" y="296278"/>
            <a:ext cx="4039779" cy="2944550"/>
          </a:xfrm>
          <a:prstGeom prst="rect">
            <a:avLst/>
          </a:prstGeom>
        </p:spPr>
      </p:pic>
      <p:sp>
        <p:nvSpPr>
          <p:cNvPr id="42" name="Titel 41">
            <a:extLst>
              <a:ext uri="{FF2B5EF4-FFF2-40B4-BE49-F238E27FC236}">
                <a16:creationId xmlns:a16="http://schemas.microsoft.com/office/drawing/2014/main" id="{B4909CE9-6A33-77AE-B549-D9B803ED1505}"/>
              </a:ext>
            </a:extLst>
          </p:cNvPr>
          <p:cNvSpPr>
            <a:spLocks noGrp="1"/>
          </p:cNvSpPr>
          <p:nvPr>
            <p:ph type="ctrTitle"/>
          </p:nvPr>
        </p:nvSpPr>
        <p:spPr>
          <a:xfrm>
            <a:off x="2280151" y="1926206"/>
            <a:ext cx="7588155" cy="1599066"/>
          </a:xfrm>
        </p:spPr>
        <p:txBody>
          <a:bodyPr anchor="t">
            <a:normAutofit/>
          </a:bodyPr>
          <a:lstStyle/>
          <a:p>
            <a:r>
              <a:rPr lang="da-DK" sz="6000" b="1"/>
              <a:t>Moonshot demens</a:t>
            </a:r>
            <a:br>
              <a:rPr lang="da-DK"/>
            </a:br>
            <a:r>
              <a:rPr lang="da-DK">
                <a:solidFill>
                  <a:schemeClr val="bg1">
                    <a:lumMod val="85000"/>
                    <a:lumOff val="15000"/>
                  </a:schemeClr>
                </a:solidFill>
              </a:rPr>
              <a:t>Sammen finder vi kuren </a:t>
            </a:r>
          </a:p>
        </p:txBody>
      </p:sp>
    </p:spTree>
    <p:extLst>
      <p:ext uri="{BB962C8B-B14F-4D97-AF65-F5344CB8AC3E}">
        <p14:creationId xmlns:p14="http://schemas.microsoft.com/office/powerpoint/2010/main" val="16854040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descr="Et billede, der indeholder sværd, skærmbillede&#10;&#10;AI-genereret indhold kan være ukorrekt.">
            <a:extLst>
              <a:ext uri="{FF2B5EF4-FFF2-40B4-BE49-F238E27FC236}">
                <a16:creationId xmlns:a16="http://schemas.microsoft.com/office/drawing/2014/main" id="{F0217B16-515C-6506-A735-A29ECC9210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8315" y="870857"/>
            <a:ext cx="10083912" cy="4964388"/>
          </a:xfrm>
          <a:prstGeom prst="rect">
            <a:avLst/>
          </a:prstGeom>
        </p:spPr>
      </p:pic>
    </p:spTree>
    <p:extLst>
      <p:ext uri="{BB962C8B-B14F-4D97-AF65-F5344CB8AC3E}">
        <p14:creationId xmlns:p14="http://schemas.microsoft.com/office/powerpoint/2010/main" val="28385773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E64EC760-D7A9-E688-2FAC-A9E2DA65D47F}"/>
              </a:ext>
            </a:extLst>
          </p:cNvPr>
          <p:cNvSpPr>
            <a:spLocks noGrp="1"/>
          </p:cNvSpPr>
          <p:nvPr>
            <p:ph sz="half" idx="1"/>
          </p:nvPr>
        </p:nvSpPr>
        <p:spPr>
          <a:xfrm>
            <a:off x="414338" y="1258888"/>
            <a:ext cx="5541962" cy="4899025"/>
          </a:xfrm>
        </p:spPr>
        <p:txBody>
          <a:bodyPr>
            <a:noAutofit/>
          </a:bodyPr>
          <a:lstStyle/>
          <a:p>
            <a:pPr marL="342900" indent="-342900">
              <a:lnSpc>
                <a:spcPct val="100000"/>
              </a:lnSpc>
              <a:buFont typeface="Arial" panose="020B0604020202020204" pitchFamily="34" charset="0"/>
              <a:buChar char="•"/>
            </a:pPr>
            <a:r>
              <a:rPr lang="da-DK" sz="2800"/>
              <a:t>Demens kan blive et stærkt tema i forbindelse med Folketingsvalg 2026</a:t>
            </a:r>
          </a:p>
          <a:p>
            <a:pPr marL="342900" indent="-342900">
              <a:lnSpc>
                <a:spcPct val="100000"/>
              </a:lnSpc>
              <a:buFont typeface="Arial" panose="020B0604020202020204" pitchFamily="34" charset="0"/>
              <a:buChar char="•"/>
            </a:pPr>
            <a:endParaRPr lang="da-DK" sz="2800"/>
          </a:p>
          <a:p>
            <a:pPr marL="342900" indent="-342900">
              <a:lnSpc>
                <a:spcPct val="100000"/>
              </a:lnSpc>
              <a:buFont typeface="Arial" panose="020B0604020202020204" pitchFamily="34" charset="0"/>
              <a:buChar char="•"/>
            </a:pPr>
            <a:r>
              <a:rPr lang="da-DK" sz="2800"/>
              <a:t>Mulighederne i EU afsøges </a:t>
            </a:r>
          </a:p>
          <a:p>
            <a:pPr marL="342900" indent="-342900">
              <a:lnSpc>
                <a:spcPct val="100000"/>
              </a:lnSpc>
              <a:buFont typeface="Arial" panose="020B0604020202020204" pitchFamily="34" charset="0"/>
              <a:buChar char="•"/>
            </a:pPr>
            <a:endParaRPr lang="da-DK" sz="2800"/>
          </a:p>
          <a:p>
            <a:pPr marL="342900" indent="-342900">
              <a:lnSpc>
                <a:spcPct val="100000"/>
              </a:lnSpc>
              <a:buFont typeface="Arial" panose="020B0604020202020204" pitchFamily="34" charset="0"/>
              <a:buChar char="•"/>
            </a:pPr>
            <a:r>
              <a:rPr lang="da-DK" sz="2800"/>
              <a:t>Samle flygtende USA forskere op i danske forskningsmiljøer for demens (”</a:t>
            </a:r>
            <a:r>
              <a:rPr lang="da-DK" sz="2800" err="1"/>
              <a:t>brain</a:t>
            </a:r>
            <a:r>
              <a:rPr lang="da-DK" sz="2800"/>
              <a:t> </a:t>
            </a:r>
            <a:r>
              <a:rPr lang="da-DK" sz="2800" err="1"/>
              <a:t>gain</a:t>
            </a:r>
            <a:r>
              <a:rPr lang="da-DK" sz="2800"/>
              <a:t>”)</a:t>
            </a:r>
          </a:p>
        </p:txBody>
      </p:sp>
      <p:sp>
        <p:nvSpPr>
          <p:cNvPr id="17" name="Date Placeholder 3">
            <a:extLst>
              <a:ext uri="{FF2B5EF4-FFF2-40B4-BE49-F238E27FC236}">
                <a16:creationId xmlns:a16="http://schemas.microsoft.com/office/drawing/2014/main" id="{30B77143-9D27-5DDB-4EDF-9C21A8F0EE35}"/>
              </a:ext>
            </a:extLst>
          </p:cNvPr>
          <p:cNvSpPr>
            <a:spLocks noGrp="1"/>
          </p:cNvSpPr>
          <p:nvPr>
            <p:ph type="dt" sz="half" idx="10"/>
          </p:nvPr>
        </p:nvSpPr>
        <p:spPr>
          <a:xfrm>
            <a:off x="8866188" y="6577013"/>
            <a:ext cx="1939925" cy="273050"/>
          </a:xfrm>
        </p:spPr>
        <p:txBody>
          <a:bodyPr/>
          <a:lstStyle/>
          <a:p>
            <a:endParaRPr lang="da-DK"/>
          </a:p>
        </p:txBody>
      </p:sp>
      <p:sp>
        <p:nvSpPr>
          <p:cNvPr id="2" name="Titel 1">
            <a:extLst>
              <a:ext uri="{FF2B5EF4-FFF2-40B4-BE49-F238E27FC236}">
                <a16:creationId xmlns:a16="http://schemas.microsoft.com/office/drawing/2014/main" id="{F93A9C6B-3BB7-366D-9EDF-F165FE5AF2F7}"/>
              </a:ext>
            </a:extLst>
          </p:cNvPr>
          <p:cNvSpPr>
            <a:spLocks noGrp="1"/>
          </p:cNvSpPr>
          <p:nvPr>
            <p:ph type="title"/>
          </p:nvPr>
        </p:nvSpPr>
        <p:spPr>
          <a:xfrm>
            <a:off x="414337" y="419100"/>
            <a:ext cx="11361737" cy="839788"/>
          </a:xfrm>
        </p:spPr>
        <p:txBody>
          <a:bodyPr anchor="t">
            <a:normAutofit/>
          </a:bodyPr>
          <a:lstStyle/>
          <a:p>
            <a:r>
              <a:rPr lang="da-DK"/>
              <a:t>Demens 2026</a:t>
            </a:r>
          </a:p>
        </p:txBody>
      </p:sp>
    </p:spTree>
    <p:extLst>
      <p:ext uri="{BB962C8B-B14F-4D97-AF65-F5344CB8AC3E}">
        <p14:creationId xmlns:p14="http://schemas.microsoft.com/office/powerpoint/2010/main" val="7004852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4">
            <a:extLst>
              <a:ext uri="{FF2B5EF4-FFF2-40B4-BE49-F238E27FC236}">
                <a16:creationId xmlns:a16="http://schemas.microsoft.com/office/drawing/2014/main" id="{F121BCD3-668A-46DE-8DD0-ADAA686497FD}"/>
              </a:ext>
            </a:extLst>
          </p:cNvPr>
          <p:cNvSpPr txBox="1">
            <a:spLocks noGrp="1"/>
          </p:cNvSpPr>
          <p:nvPr>
            <p:ph sz="quarter" idx="13"/>
          </p:nvPr>
        </p:nvSpPr>
        <p:spPr>
          <a:xfrm>
            <a:off x="486349" y="1998533"/>
            <a:ext cx="5743074" cy="428625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522288" lvl="2" indent="-342900" algn="l">
              <a:spcBef>
                <a:spcPts val="0"/>
              </a:spcBef>
              <a:spcAft>
                <a:spcPts val="300"/>
              </a:spcAft>
            </a:pPr>
            <a:r>
              <a:rPr lang="da-DK" sz="2400">
                <a:solidFill>
                  <a:schemeClr val="tx1"/>
                </a:solidFill>
                <a:latin typeface="+mj-lt"/>
                <a:sym typeface="Palatino"/>
              </a:rPr>
              <a:t>Fortsat fremgang for Ældretelefonen</a:t>
            </a:r>
          </a:p>
          <a:p>
            <a:pPr marL="522288" lvl="2" indent="-342900" algn="l">
              <a:spcBef>
                <a:spcPts val="0"/>
              </a:spcBef>
              <a:spcAft>
                <a:spcPts val="300"/>
              </a:spcAft>
            </a:pPr>
            <a:r>
              <a:rPr lang="da-DK" sz="2400">
                <a:solidFill>
                  <a:schemeClr val="tx1"/>
                </a:solidFill>
                <a:latin typeface="+mj-lt"/>
                <a:sym typeface="Palatino"/>
              </a:rPr>
              <a:t>Lokale ”Hold hjernen skarp”-arrangementer.</a:t>
            </a:r>
          </a:p>
          <a:p>
            <a:pPr marL="522288" lvl="2" indent="-342900" algn="l">
              <a:spcBef>
                <a:spcPts val="0"/>
              </a:spcBef>
              <a:spcAft>
                <a:spcPts val="300"/>
              </a:spcAft>
            </a:pPr>
            <a:r>
              <a:rPr lang="da-DK" sz="2400">
                <a:solidFill>
                  <a:schemeClr val="tx1"/>
                </a:solidFill>
                <a:latin typeface="+mj-lt"/>
                <a:sym typeface="Palatino"/>
              </a:rPr>
              <a:t>Sociale henvisninger</a:t>
            </a:r>
          </a:p>
          <a:p>
            <a:pPr marL="522288" lvl="2" indent="-342900" algn="l">
              <a:spcBef>
                <a:spcPts val="0"/>
              </a:spcBef>
              <a:spcAft>
                <a:spcPts val="300"/>
              </a:spcAft>
            </a:pPr>
            <a:r>
              <a:rPr lang="da-DK" sz="2400">
                <a:solidFill>
                  <a:schemeClr val="tx1"/>
                </a:solidFill>
                <a:latin typeface="+mj-lt"/>
                <a:sym typeface="Palatino"/>
              </a:rPr>
              <a:t>Flere aktiviteter ”tæt på dig” – ”Lige rundt om hjørnet”-projekt</a:t>
            </a:r>
          </a:p>
          <a:p>
            <a:pPr marL="522288" lvl="2" indent="-342900" algn="l">
              <a:spcBef>
                <a:spcPts val="0"/>
              </a:spcBef>
              <a:spcAft>
                <a:spcPts val="300"/>
              </a:spcAft>
            </a:pPr>
            <a:r>
              <a:rPr lang="da-DK" sz="2400">
                <a:solidFill>
                  <a:schemeClr val="tx1"/>
                </a:solidFill>
                <a:latin typeface="+mj-lt"/>
                <a:sym typeface="Palatino"/>
              </a:rPr>
              <a:t>Tryghedsopkald i hele landet</a:t>
            </a:r>
          </a:p>
          <a:p>
            <a:pPr marL="522288" lvl="2" indent="-342900" algn="l">
              <a:spcBef>
                <a:spcPts val="0"/>
              </a:spcBef>
              <a:spcAft>
                <a:spcPts val="300"/>
              </a:spcAft>
            </a:pPr>
            <a:r>
              <a:rPr lang="da-DK" sz="2400">
                <a:solidFill>
                  <a:schemeClr val="tx1"/>
                </a:solidFill>
                <a:latin typeface="+mj-lt"/>
                <a:sym typeface="Palatino"/>
              </a:rPr>
              <a:t>Digital tryghedstjeneste</a:t>
            </a:r>
          </a:p>
          <a:p>
            <a:pPr marL="522288" lvl="2" indent="-342900" algn="l">
              <a:spcBef>
                <a:spcPts val="0"/>
              </a:spcBef>
              <a:spcAft>
                <a:spcPts val="300"/>
              </a:spcAft>
            </a:pPr>
            <a:r>
              <a:rPr lang="da-DK" sz="2400">
                <a:solidFill>
                  <a:schemeClr val="tx1"/>
                </a:solidFill>
                <a:latin typeface="+mj-lt"/>
                <a:sym typeface="Palatino"/>
              </a:rPr>
              <a:t>Webinarer om mental sundhed</a:t>
            </a:r>
          </a:p>
          <a:p>
            <a:pPr marL="358775" lvl="2" indent="-179388" algn="l">
              <a:spcBef>
                <a:spcPts val="0"/>
              </a:spcBef>
              <a:spcAft>
                <a:spcPts val="300"/>
              </a:spcAft>
              <a:buNone/>
            </a:pPr>
            <a:endParaRPr lang="da-DK" sz="1800" b="1">
              <a:solidFill>
                <a:schemeClr val="tx1"/>
              </a:solidFill>
              <a:latin typeface="+mj-lt"/>
              <a:sym typeface="Palatino"/>
            </a:endParaRPr>
          </a:p>
        </p:txBody>
      </p:sp>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p:txBody>
          <a:bodyPr>
            <a:normAutofit/>
          </a:bodyPr>
          <a:lstStyle/>
          <a:p>
            <a:pPr algn="l"/>
            <a:r>
              <a:rPr lang="da-DK" sz="3200"/>
              <a:t>Mental sundhed </a:t>
            </a:r>
          </a:p>
        </p:txBody>
      </p:sp>
      <p:pic>
        <p:nvPicPr>
          <p:cNvPr id="9" name="Picture 33">
            <a:extLst>
              <a:ext uri="{FF2B5EF4-FFF2-40B4-BE49-F238E27FC236}">
                <a16:creationId xmlns:a16="http://schemas.microsoft.com/office/drawing/2014/main" id="{28B38E33-E505-44A4-9DFA-7AFF14D897E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346019" y="137998"/>
            <a:ext cx="1265883" cy="1262160"/>
          </a:xfrm>
          <a:prstGeom prst="rect">
            <a:avLst/>
          </a:prstGeom>
        </p:spPr>
      </p:pic>
      <p:pic>
        <p:nvPicPr>
          <p:cNvPr id="7" name="Billede 6">
            <a:extLst>
              <a:ext uri="{FF2B5EF4-FFF2-40B4-BE49-F238E27FC236}">
                <a16:creationId xmlns:a16="http://schemas.microsoft.com/office/drawing/2014/main" id="{4D9F457F-C174-4297-B322-58E333A4765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229423" y="1722557"/>
            <a:ext cx="5609651" cy="4562226"/>
          </a:xfrm>
          <a:prstGeom prst="rect">
            <a:avLst/>
          </a:prstGeom>
        </p:spPr>
      </p:pic>
    </p:spTree>
    <p:extLst>
      <p:ext uri="{BB962C8B-B14F-4D97-AF65-F5344CB8AC3E}">
        <p14:creationId xmlns:p14="http://schemas.microsoft.com/office/powerpoint/2010/main" val="390461163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felt 5">
            <a:extLst>
              <a:ext uri="{FF2B5EF4-FFF2-40B4-BE49-F238E27FC236}">
                <a16:creationId xmlns:a16="http://schemas.microsoft.com/office/drawing/2014/main" id="{32972207-7EC8-C28E-02EE-5D3C05275423}"/>
              </a:ext>
            </a:extLst>
          </p:cNvPr>
          <p:cNvSpPr txBox="1"/>
          <p:nvPr/>
        </p:nvSpPr>
        <p:spPr>
          <a:xfrm>
            <a:off x="414338" y="1677988"/>
            <a:ext cx="5541962" cy="4479925"/>
          </a:xfrm>
          <a:prstGeom prst="rect">
            <a:avLst/>
          </a:prstGeom>
        </p:spPr>
        <p:txBody>
          <a:bodyPr vert="horz" lIns="0" tIns="0" rIns="0" bIns="0" rtlCol="0">
            <a:normAutofit/>
          </a:bodyPr>
          <a:lstStyle/>
          <a:p>
            <a:pPr>
              <a:lnSpc>
                <a:spcPct val="110000"/>
              </a:lnSpc>
              <a:spcAft>
                <a:spcPts val="600"/>
              </a:spcAft>
              <a:buFont typeface="IBM Plex Sans" panose="020B0503050203000203" pitchFamily="34" charset="0"/>
            </a:pPr>
            <a:endParaRPr lang="da-DK" sz="1600">
              <a:solidFill>
                <a:schemeClr val="tx2"/>
              </a:solidFill>
              <a:latin typeface="IBM Plex Sans" panose="020B0503050203000203" pitchFamily="34" charset="0"/>
            </a:endParaRPr>
          </a:p>
          <a:p>
            <a:pPr>
              <a:lnSpc>
                <a:spcPct val="110000"/>
              </a:lnSpc>
              <a:spcAft>
                <a:spcPts val="600"/>
              </a:spcAft>
              <a:buFont typeface="IBM Plex Sans" panose="020B0503050203000203" pitchFamily="34" charset="0"/>
            </a:pPr>
            <a:r>
              <a:rPr lang="da-DK" sz="2400">
                <a:solidFill>
                  <a:schemeClr val="tx2"/>
                </a:solidFill>
                <a:latin typeface="IBM Plex Sans" panose="020B0503050203000203" pitchFamily="34" charset="0"/>
              </a:rPr>
              <a:t>Ældreloven skal have tid til at virke, og vil i bedste fald løse nogle af udfordringerne på ældreområdet –   </a:t>
            </a:r>
            <a:r>
              <a:rPr lang="da-DK" sz="2400" b="1" u="sng">
                <a:solidFill>
                  <a:schemeClr val="tx2"/>
                </a:solidFill>
                <a:latin typeface="IBM Plex Sans" panose="020B0503050203000203" pitchFamily="34" charset="0"/>
              </a:rPr>
              <a:t>men langt fra alle!</a:t>
            </a:r>
          </a:p>
          <a:p>
            <a:pPr>
              <a:lnSpc>
                <a:spcPct val="110000"/>
              </a:lnSpc>
              <a:spcAft>
                <a:spcPts val="600"/>
              </a:spcAft>
              <a:buFont typeface="IBM Plex Sans" panose="020B0503050203000203" pitchFamily="34" charset="0"/>
            </a:pPr>
            <a:endParaRPr lang="da-DK" sz="2400">
              <a:solidFill>
                <a:schemeClr val="tx2"/>
              </a:solidFill>
              <a:latin typeface="IBM Plex Sans" panose="020B0503050203000203" pitchFamily="34" charset="0"/>
            </a:endParaRPr>
          </a:p>
          <a:p>
            <a:pPr>
              <a:lnSpc>
                <a:spcPct val="110000"/>
              </a:lnSpc>
              <a:spcAft>
                <a:spcPts val="600"/>
              </a:spcAft>
              <a:buFont typeface="IBM Plex Sans" panose="020B0503050203000203" pitchFamily="34" charset="0"/>
            </a:pPr>
            <a:r>
              <a:rPr lang="da-DK" sz="2400">
                <a:solidFill>
                  <a:schemeClr val="tx2"/>
                </a:solidFill>
                <a:latin typeface="IBM Plex Sans" panose="020B0503050203000203" pitchFamily="34" charset="0"/>
              </a:rPr>
              <a:t>Ældre Sagen vil fortsat rejse de mange problemer og uværdige forhold,</a:t>
            </a:r>
          </a:p>
          <a:p>
            <a:pPr>
              <a:lnSpc>
                <a:spcPct val="110000"/>
              </a:lnSpc>
              <a:spcAft>
                <a:spcPts val="600"/>
              </a:spcAft>
              <a:buFont typeface="IBM Plex Sans" panose="020B0503050203000203" pitchFamily="34" charset="0"/>
            </a:pPr>
            <a:r>
              <a:rPr lang="da-DK" sz="2400">
                <a:solidFill>
                  <a:schemeClr val="tx2"/>
                </a:solidFill>
                <a:latin typeface="IBM Plex Sans" panose="020B0503050203000203" pitchFamily="34" charset="0"/>
              </a:rPr>
              <a:t>vi hver dag ser og hører om… </a:t>
            </a:r>
          </a:p>
        </p:txBody>
      </p:sp>
      <p:sp>
        <p:nvSpPr>
          <p:cNvPr id="3" name="Pladsholder til dato 2">
            <a:extLst>
              <a:ext uri="{FF2B5EF4-FFF2-40B4-BE49-F238E27FC236}">
                <a16:creationId xmlns:a16="http://schemas.microsoft.com/office/drawing/2014/main" id="{34EBB4A1-67A4-3F02-564E-B33D8C630DC3}"/>
              </a:ext>
            </a:extLst>
          </p:cNvPr>
          <p:cNvSpPr>
            <a:spLocks noGrp="1"/>
          </p:cNvSpPr>
          <p:nvPr>
            <p:ph type="dt" sz="half" idx="10"/>
          </p:nvPr>
        </p:nvSpPr>
        <p:spPr>
          <a:xfrm>
            <a:off x="8866188" y="6577013"/>
            <a:ext cx="1939925" cy="273050"/>
          </a:xfrm>
        </p:spPr>
        <p:txBody>
          <a:bodyPr vert="horz" lIns="0" tIns="0" rIns="0" bIns="0" rtlCol="0" anchor="ctr">
            <a:normAutofit/>
          </a:bodyPr>
          <a:lstStyle/>
          <a:p>
            <a:pPr>
              <a:spcAft>
                <a:spcPts val="600"/>
              </a:spcAft>
            </a:pPr>
            <a:fld id="{6D5D1A30-15C3-4239-83E6-F465C8049868}" type="datetime1">
              <a:rPr lang="da-DK" smtClean="0"/>
              <a:pPr>
                <a:spcAft>
                  <a:spcPts val="600"/>
                </a:spcAft>
              </a:pPr>
              <a:t>16-09-2025</a:t>
            </a:fld>
            <a:endParaRPr lang="da-DK"/>
          </a:p>
        </p:txBody>
      </p:sp>
      <p:sp>
        <p:nvSpPr>
          <p:cNvPr id="5" name="Pladsholder til slidenummer 4">
            <a:extLst>
              <a:ext uri="{FF2B5EF4-FFF2-40B4-BE49-F238E27FC236}">
                <a16:creationId xmlns:a16="http://schemas.microsoft.com/office/drawing/2014/main" id="{B2350E07-E41E-3187-5A3E-DDFD23A95E96}"/>
              </a:ext>
            </a:extLst>
          </p:cNvPr>
          <p:cNvSpPr>
            <a:spLocks noGrp="1"/>
          </p:cNvSpPr>
          <p:nvPr>
            <p:ph type="sldNum" sz="quarter" idx="12"/>
          </p:nvPr>
        </p:nvSpPr>
        <p:spPr>
          <a:xfrm>
            <a:off x="11082337" y="6577013"/>
            <a:ext cx="693737" cy="273050"/>
          </a:xfrm>
        </p:spPr>
        <p:txBody>
          <a:bodyPr vert="horz" lIns="0" tIns="0" rIns="0" bIns="0" rtlCol="0" anchor="ctr">
            <a:normAutofit/>
          </a:bodyPr>
          <a:lstStyle/>
          <a:p>
            <a:pPr>
              <a:spcAft>
                <a:spcPts val="600"/>
              </a:spcAft>
            </a:pPr>
            <a:fld id="{0E8862F4-759C-4937-98C7-CDEB1EE77131}" type="slidenum">
              <a:rPr lang="da-DK" smtClean="0"/>
              <a:pPr>
                <a:spcAft>
                  <a:spcPts val="600"/>
                </a:spcAft>
              </a:pPr>
              <a:t>3</a:t>
            </a:fld>
            <a:endParaRPr lang="da-DK"/>
          </a:p>
        </p:txBody>
      </p:sp>
      <p:sp>
        <p:nvSpPr>
          <p:cNvPr id="2" name="Titel 1">
            <a:extLst>
              <a:ext uri="{FF2B5EF4-FFF2-40B4-BE49-F238E27FC236}">
                <a16:creationId xmlns:a16="http://schemas.microsoft.com/office/drawing/2014/main" id="{4DC47160-5DF7-8640-F8A8-584625B3B556}"/>
              </a:ext>
            </a:extLst>
          </p:cNvPr>
          <p:cNvSpPr>
            <a:spLocks noGrp="1"/>
          </p:cNvSpPr>
          <p:nvPr>
            <p:ph type="title"/>
          </p:nvPr>
        </p:nvSpPr>
        <p:spPr>
          <a:xfrm>
            <a:off x="414337" y="419100"/>
            <a:ext cx="11361737" cy="839788"/>
          </a:xfrm>
        </p:spPr>
        <p:txBody>
          <a:bodyPr vert="horz" lIns="0" tIns="0" rIns="0" bIns="0" rtlCol="0" anchor="t">
            <a:normAutofit/>
          </a:bodyPr>
          <a:lstStyle/>
          <a:p>
            <a:r>
              <a:rPr lang="da-DK" b="1" kern="1200">
                <a:latin typeface="+mn-lt"/>
                <a:ea typeface="+mj-ea"/>
                <a:cs typeface="+mj-cs"/>
              </a:rPr>
              <a:t>Ældreloven er i implementeringsfasen….</a:t>
            </a:r>
          </a:p>
        </p:txBody>
      </p:sp>
    </p:spTree>
    <p:extLst>
      <p:ext uri="{BB962C8B-B14F-4D97-AF65-F5344CB8AC3E}">
        <p14:creationId xmlns:p14="http://schemas.microsoft.com/office/powerpoint/2010/main" val="3249647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4">
            <a:extLst>
              <a:ext uri="{FF2B5EF4-FFF2-40B4-BE49-F238E27FC236}">
                <a16:creationId xmlns:a16="http://schemas.microsoft.com/office/drawing/2014/main" id="{F121BCD3-668A-46DE-8DD0-ADAA686497FD}"/>
              </a:ext>
            </a:extLst>
          </p:cNvPr>
          <p:cNvSpPr txBox="1">
            <a:spLocks noGrp="1"/>
          </p:cNvSpPr>
          <p:nvPr>
            <p:ph sz="quarter" idx="13"/>
          </p:nvPr>
        </p:nvSpPr>
        <p:spPr>
          <a:xfrm>
            <a:off x="476251" y="1919883"/>
            <a:ext cx="5609651" cy="428625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522288" lvl="2" indent="-342900" algn="l">
              <a:spcBef>
                <a:spcPts val="0"/>
              </a:spcBef>
            </a:pPr>
            <a:r>
              <a:rPr lang="da-DK" sz="2000">
                <a:solidFill>
                  <a:schemeClr val="tx1"/>
                </a:solidFill>
                <a:latin typeface="+mj-lt"/>
                <a:sym typeface="Palatino"/>
              </a:rPr>
              <a:t>Samarbejde med Jobindeks om deltidsstillinger til pensionister</a:t>
            </a:r>
          </a:p>
          <a:p>
            <a:pPr marL="522288" lvl="2" indent="-342900" algn="l">
              <a:spcBef>
                <a:spcPts val="0"/>
              </a:spcBef>
            </a:pPr>
            <a:r>
              <a:rPr lang="da-DK" sz="2000">
                <a:solidFill>
                  <a:schemeClr val="tx1"/>
                </a:solidFill>
                <a:latin typeface="+mj-lt"/>
                <a:sym typeface="Palatino"/>
              </a:rPr>
              <a:t>Iværksætterkurser</a:t>
            </a:r>
          </a:p>
          <a:p>
            <a:pPr marL="522288" lvl="2" indent="-342900" algn="l">
              <a:spcBef>
                <a:spcPts val="0"/>
              </a:spcBef>
            </a:pPr>
            <a:r>
              <a:rPr lang="da-DK" sz="2000">
                <a:solidFill>
                  <a:schemeClr val="tx1"/>
                </a:solidFill>
                <a:latin typeface="+mj-lt"/>
                <a:sym typeface="Palatino"/>
              </a:rPr>
              <a:t>Aldersfordomme skal udryddes: Kampagne mod alderisme, samarbejde med TV2. </a:t>
            </a:r>
          </a:p>
          <a:p>
            <a:pPr marL="522288" lvl="2" indent="-342900" algn="l">
              <a:spcBef>
                <a:spcPts val="0"/>
              </a:spcBef>
            </a:pPr>
            <a:r>
              <a:rPr lang="da-DK" sz="2000">
                <a:solidFill>
                  <a:schemeClr val="tx1"/>
                </a:solidFill>
                <a:latin typeface="+mj-lt"/>
                <a:sym typeface="Palatino"/>
              </a:rPr>
              <a:t>Webinarer om bl.a. mental og fysisk sundhed – gratis kurser hos VUC</a:t>
            </a:r>
          </a:p>
          <a:p>
            <a:pPr marL="522288" lvl="2" indent="-342900" algn="l">
              <a:spcBef>
                <a:spcPts val="0"/>
              </a:spcBef>
            </a:pPr>
            <a:r>
              <a:rPr lang="da-DK" sz="2000">
                <a:solidFill>
                  <a:schemeClr val="tx1"/>
                </a:solidFill>
                <a:latin typeface="+mj-lt"/>
                <a:sym typeface="Palatino"/>
              </a:rPr>
              <a:t>Pensionsberegner til økonomisk planlægning</a:t>
            </a:r>
          </a:p>
          <a:p>
            <a:pPr marL="522288" lvl="2" indent="-342900" algn="l">
              <a:spcBef>
                <a:spcPts val="0"/>
              </a:spcBef>
            </a:pPr>
            <a:r>
              <a:rPr lang="da-DK" sz="2000">
                <a:solidFill>
                  <a:schemeClr val="tx1"/>
                </a:solidFill>
                <a:latin typeface="+mj-lt"/>
                <a:sym typeface="Palatino"/>
              </a:rPr>
              <a:t>Ad-hoc-udvalg 2025: </a:t>
            </a:r>
            <a:br>
              <a:rPr lang="da-DK" sz="2000">
                <a:solidFill>
                  <a:schemeClr val="tx1"/>
                </a:solidFill>
                <a:latin typeface="+mj-lt"/>
                <a:sym typeface="Palatino"/>
              </a:rPr>
            </a:br>
            <a:r>
              <a:rPr lang="da-DK" sz="2000">
                <a:solidFill>
                  <a:schemeClr val="tx1"/>
                </a:solidFill>
                <a:latin typeface="+mj-lt"/>
                <a:sym typeface="Palatino"/>
              </a:rPr>
              <a:t>Flere tilbud til målgruppen i lokalafdelingerne (kan-opgave)</a:t>
            </a:r>
            <a:br>
              <a:rPr lang="da-DK" sz="2000">
                <a:solidFill>
                  <a:schemeClr val="tx1"/>
                </a:solidFill>
                <a:latin typeface="+mj-lt"/>
                <a:sym typeface="Palatino"/>
              </a:rPr>
            </a:br>
            <a:br>
              <a:rPr lang="da-DK" sz="2000">
                <a:solidFill>
                  <a:schemeClr val="tx1"/>
                </a:solidFill>
                <a:latin typeface="+mj-lt"/>
                <a:sym typeface="Palatino"/>
              </a:rPr>
            </a:br>
            <a:endParaRPr lang="da-DK" sz="2000">
              <a:solidFill>
                <a:schemeClr val="tx1"/>
              </a:solidFill>
              <a:latin typeface="+mj-lt"/>
              <a:sym typeface="Palatino"/>
            </a:endParaRPr>
          </a:p>
          <a:p>
            <a:pPr marL="358775" lvl="2" indent="-179388" algn="l">
              <a:spcBef>
                <a:spcPts val="0"/>
              </a:spcBef>
              <a:spcAft>
                <a:spcPts val="300"/>
              </a:spcAft>
              <a:buNone/>
            </a:pPr>
            <a:endParaRPr lang="da-DK" sz="1800" b="1">
              <a:solidFill>
                <a:schemeClr val="tx1"/>
              </a:solidFill>
              <a:latin typeface="+mj-lt"/>
              <a:sym typeface="Palatino"/>
            </a:endParaRPr>
          </a:p>
        </p:txBody>
      </p:sp>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p:txBody>
          <a:bodyPr>
            <a:normAutofit/>
          </a:bodyPr>
          <a:lstStyle/>
          <a:p>
            <a:pPr algn="l"/>
            <a:r>
              <a:rPr lang="da-DK" sz="4000"/>
              <a:t>En aktiv seniorstyrke</a:t>
            </a:r>
          </a:p>
        </p:txBody>
      </p:sp>
      <p:pic>
        <p:nvPicPr>
          <p:cNvPr id="8" name="Picture 33">
            <a:extLst>
              <a:ext uri="{FF2B5EF4-FFF2-40B4-BE49-F238E27FC236}">
                <a16:creationId xmlns:a16="http://schemas.microsoft.com/office/drawing/2014/main" id="{3A075B18-E9AC-404B-A293-AF5E01E5681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694495" y="224201"/>
            <a:ext cx="1125152" cy="1126134"/>
          </a:xfrm>
          <a:prstGeom prst="rect">
            <a:avLst/>
          </a:prstGeom>
        </p:spPr>
      </p:pic>
    </p:spTree>
    <p:extLst>
      <p:ext uri="{BB962C8B-B14F-4D97-AF65-F5344CB8AC3E}">
        <p14:creationId xmlns:p14="http://schemas.microsoft.com/office/powerpoint/2010/main" val="376242530"/>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2117D37A-B8C7-6104-6AD2-F09F2F847F43}"/>
              </a:ext>
            </a:extLst>
          </p:cNvPr>
          <p:cNvSpPr>
            <a:spLocks noGrp="1"/>
          </p:cNvSpPr>
          <p:nvPr>
            <p:ph sz="half" idx="1"/>
          </p:nvPr>
        </p:nvSpPr>
        <p:spPr>
          <a:xfrm>
            <a:off x="414338" y="1677988"/>
            <a:ext cx="5541962" cy="4479925"/>
          </a:xfrm>
        </p:spPr>
        <p:txBody>
          <a:bodyPr>
            <a:normAutofit/>
          </a:bodyPr>
          <a:lstStyle/>
          <a:p>
            <a:pPr>
              <a:spcAft>
                <a:spcPts val="600"/>
              </a:spcAft>
            </a:pPr>
            <a:r>
              <a:rPr lang="da-DK" sz="2000"/>
              <a:t>Ældre Sagen som vigtig aktør</a:t>
            </a:r>
          </a:p>
          <a:p>
            <a:pPr marL="463550" lvl="1" indent="-285750">
              <a:spcAft>
                <a:spcPts val="600"/>
              </a:spcAft>
              <a:buFont typeface="Arial" panose="020B0604020202020204" pitchFamily="34" charset="0"/>
              <a:buChar char="•"/>
            </a:pPr>
            <a:r>
              <a:rPr lang="da-DK" sz="2000"/>
              <a:t>Politisk (nationalt, lokalt – Rejsehold, </a:t>
            </a:r>
            <a:r>
              <a:rPr lang="da-DK" sz="2000" err="1"/>
              <a:t>PPU’er</a:t>
            </a:r>
            <a:r>
              <a:rPr lang="da-DK" sz="2000"/>
              <a:t> </a:t>
            </a:r>
            <a:r>
              <a:rPr lang="da-DK" sz="2000" err="1"/>
              <a:t>ift</a:t>
            </a:r>
            <a:r>
              <a:rPr lang="da-DK" sz="2000"/>
              <a:t> kommende sundhedsråd, osv.)</a:t>
            </a:r>
          </a:p>
          <a:p>
            <a:pPr marL="463550" lvl="1" indent="-285750">
              <a:spcAft>
                <a:spcPts val="600"/>
              </a:spcAft>
              <a:buFont typeface="Arial" panose="020B0604020202020204" pitchFamily="34" charset="0"/>
              <a:buChar char="•"/>
            </a:pPr>
            <a:r>
              <a:rPr lang="da-DK" sz="2000"/>
              <a:t>Frivilligt/lokalt (motionsaktiviteter, hold hjernen skarp osv.)</a:t>
            </a:r>
          </a:p>
          <a:p>
            <a:pPr marL="463550" lvl="1" indent="-285750">
              <a:spcAft>
                <a:spcPts val="600"/>
              </a:spcAft>
              <a:buFont typeface="Arial" panose="020B0604020202020204" pitchFamily="34" charset="0"/>
              <a:buChar char="•"/>
            </a:pPr>
            <a:r>
              <a:rPr lang="da-DK" sz="2000"/>
              <a:t>Medlemstilbud (mere end ”rabat på fitness)</a:t>
            </a:r>
          </a:p>
          <a:p>
            <a:pPr marL="463550" lvl="1" indent="-285750">
              <a:spcAft>
                <a:spcPts val="600"/>
              </a:spcAft>
              <a:buFont typeface="Arial" panose="020B0604020202020204" pitchFamily="34" charset="0"/>
              <a:buChar char="•"/>
            </a:pPr>
            <a:r>
              <a:rPr lang="da-DK" sz="2000"/>
              <a:t>Kommunikativt: Sprede budskabet om egen sund aldring; noget der appellerer til ”aktiv seniorstyrke” </a:t>
            </a:r>
          </a:p>
          <a:p>
            <a:pPr>
              <a:spcAft>
                <a:spcPts val="600"/>
              </a:spcAft>
            </a:pPr>
            <a:endParaRPr lang="da-DK"/>
          </a:p>
        </p:txBody>
      </p:sp>
      <p:sp>
        <p:nvSpPr>
          <p:cNvPr id="12" name="Date Placeholder 2">
            <a:extLst>
              <a:ext uri="{FF2B5EF4-FFF2-40B4-BE49-F238E27FC236}">
                <a16:creationId xmlns:a16="http://schemas.microsoft.com/office/drawing/2014/main" id="{F7AD9AD2-034C-96C2-E163-D5423037E6BA}"/>
              </a:ext>
            </a:extLst>
          </p:cNvPr>
          <p:cNvSpPr>
            <a:spLocks noGrp="1"/>
          </p:cNvSpPr>
          <p:nvPr>
            <p:ph type="dt" sz="half" idx="10"/>
          </p:nvPr>
        </p:nvSpPr>
        <p:spPr>
          <a:xfrm>
            <a:off x="8866188" y="6577013"/>
            <a:ext cx="1939925" cy="273050"/>
          </a:xfrm>
        </p:spPr>
        <p:txBody>
          <a:bodyPr/>
          <a:lstStyle/>
          <a:p>
            <a:endParaRPr lang="da-DK"/>
          </a:p>
        </p:txBody>
      </p:sp>
      <p:sp>
        <p:nvSpPr>
          <p:cNvPr id="2" name="Titel 1">
            <a:extLst>
              <a:ext uri="{FF2B5EF4-FFF2-40B4-BE49-F238E27FC236}">
                <a16:creationId xmlns:a16="http://schemas.microsoft.com/office/drawing/2014/main" id="{AA6684FC-1263-5E02-6C66-4ED895607B62}"/>
              </a:ext>
            </a:extLst>
          </p:cNvPr>
          <p:cNvSpPr>
            <a:spLocks noGrp="1"/>
          </p:cNvSpPr>
          <p:nvPr>
            <p:ph type="title"/>
          </p:nvPr>
        </p:nvSpPr>
        <p:spPr>
          <a:xfrm>
            <a:off x="414338" y="419100"/>
            <a:ext cx="11361738" cy="839788"/>
          </a:xfrm>
        </p:spPr>
        <p:txBody>
          <a:bodyPr anchor="t">
            <a:normAutofit/>
          </a:bodyPr>
          <a:lstStyle/>
          <a:p>
            <a:r>
              <a:rPr lang="da-DK"/>
              <a:t>Forebyggelse: ”Alderskraft” </a:t>
            </a:r>
          </a:p>
        </p:txBody>
      </p:sp>
      <p:pic>
        <p:nvPicPr>
          <p:cNvPr id="7" name="Billede 6" descr="Gruppe af personer, der laver push-ups">
            <a:extLst>
              <a:ext uri="{FF2B5EF4-FFF2-40B4-BE49-F238E27FC236}">
                <a16:creationId xmlns:a16="http://schemas.microsoft.com/office/drawing/2014/main" id="{5764A69E-D7B6-5756-8933-8A3DC8BB65AA}"/>
              </a:ext>
            </a:extLst>
          </p:cNvPr>
          <p:cNvPicPr>
            <a:picLocks noChangeAspect="1"/>
          </p:cNvPicPr>
          <p:nvPr/>
        </p:nvPicPr>
        <p:blipFill>
          <a:blip r:embed="rId3"/>
          <a:srcRect r="17427" b="2"/>
          <a:stretch/>
        </p:blipFill>
        <p:spPr>
          <a:xfrm>
            <a:off x="6234113" y="1677988"/>
            <a:ext cx="5541962" cy="4479925"/>
          </a:xfrm>
          <a:prstGeom prst="rect">
            <a:avLst/>
          </a:prstGeom>
          <a:noFill/>
        </p:spPr>
      </p:pic>
    </p:spTree>
    <p:extLst>
      <p:ext uri="{BB962C8B-B14F-4D97-AF65-F5344CB8AC3E}">
        <p14:creationId xmlns:p14="http://schemas.microsoft.com/office/powerpoint/2010/main" val="2912940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4">
            <a:extLst>
              <a:ext uri="{FF2B5EF4-FFF2-40B4-BE49-F238E27FC236}">
                <a16:creationId xmlns:a16="http://schemas.microsoft.com/office/drawing/2014/main" id="{1550BC5C-94ED-2E9A-0B12-C2E1D00D266B}"/>
              </a:ext>
            </a:extLst>
          </p:cNvPr>
          <p:cNvSpPr>
            <a:spLocks noGrp="1"/>
          </p:cNvSpPr>
          <p:nvPr>
            <p:ph sz="half" idx="1"/>
          </p:nvPr>
        </p:nvSpPr>
        <p:spPr/>
        <p:txBody>
          <a:bodyPr/>
          <a:lstStyle/>
          <a:p>
            <a:r>
              <a:rPr lang="da-DK" sz="1800" b="1"/>
              <a:t>Frivillige </a:t>
            </a:r>
          </a:p>
          <a:p>
            <a:r>
              <a:rPr lang="da-DK" sz="1800"/>
              <a:t>* Bruge </a:t>
            </a:r>
            <a:r>
              <a:rPr lang="da-DK" sz="1800">
                <a:hlinkClick r:id="rId6"/>
              </a:rPr>
              <a:t>www.frivilligjob.dk</a:t>
            </a:r>
            <a:r>
              <a:rPr lang="da-DK" sz="1800"/>
              <a:t> </a:t>
            </a:r>
          </a:p>
          <a:p>
            <a:pPr marL="285750" indent="-285750">
              <a:buFont typeface="Arial" panose="020B0604020202020204" pitchFamily="34" charset="0"/>
              <a:buChar char="•"/>
            </a:pPr>
            <a:r>
              <a:rPr lang="da-DK" sz="1800"/>
              <a:t>Vi må energisk målrette rekrutteringen til: </a:t>
            </a:r>
          </a:p>
          <a:p>
            <a:r>
              <a:rPr lang="da-DK" sz="1800"/>
              <a:t>	- Lokal ældre- og sundhedspolitik</a:t>
            </a:r>
          </a:p>
          <a:p>
            <a:r>
              <a:rPr lang="da-DK" sz="1800"/>
              <a:t>	- De 17 nye sundhedsråds brugerråd (PPU)</a:t>
            </a:r>
          </a:p>
          <a:p>
            <a:pPr marL="285750" indent="-285750">
              <a:buFont typeface="Arial" panose="020B0604020202020204" pitchFamily="34" charset="0"/>
              <a:buChar char="•"/>
            </a:pPr>
            <a:endParaRPr lang="da-DK" sz="1800"/>
          </a:p>
          <a:p>
            <a:pPr marL="285750" indent="-285750">
              <a:buFont typeface="Arial" panose="020B0604020202020204" pitchFamily="34" charset="0"/>
              <a:buChar char="•"/>
            </a:pPr>
            <a:r>
              <a:rPr lang="da-DK" sz="1800"/>
              <a:t>Øget ad-hoc-frivillighed (fx Drømmeløbere)</a:t>
            </a:r>
          </a:p>
          <a:p>
            <a:pPr marL="285750" indent="-285750">
              <a:buFont typeface="Arial" panose="020B0604020202020204" pitchFamily="34" charset="0"/>
              <a:buChar char="•"/>
            </a:pPr>
            <a:endParaRPr lang="da-DK" sz="1800"/>
          </a:p>
          <a:p>
            <a:pPr marL="285750" indent="-285750">
              <a:buFont typeface="Arial" panose="020B0604020202020204" pitchFamily="34" charset="0"/>
              <a:buChar char="•"/>
            </a:pPr>
            <a:r>
              <a:rPr lang="da-DK" sz="1800"/>
              <a:t>Vi gennemfører formandsundersøgelse for at tilpasse og øge trivsel</a:t>
            </a:r>
          </a:p>
          <a:p>
            <a:pPr marL="285750" indent="-285750">
              <a:buFont typeface="Arial" panose="020B0604020202020204" pitchFamily="34" charset="0"/>
              <a:buChar char="•"/>
            </a:pPr>
            <a:r>
              <a:rPr lang="da-DK" sz="1800"/>
              <a:t>Vi gennemfører frivilligundersøgelse for at tilpasse og øge trivsel</a:t>
            </a:r>
          </a:p>
          <a:p>
            <a:endParaRPr lang="da-DK"/>
          </a:p>
        </p:txBody>
      </p:sp>
      <p:pic>
        <p:nvPicPr>
          <p:cNvPr id="9" name="Pladsholder til indhold 8">
            <a:extLst>
              <a:ext uri="{FF2B5EF4-FFF2-40B4-BE49-F238E27FC236}">
                <a16:creationId xmlns:a16="http://schemas.microsoft.com/office/drawing/2014/main" id="{5F2FD380-D56F-5F09-1EC4-46205995D48A}"/>
              </a:ext>
            </a:extLst>
          </p:cNvPr>
          <p:cNvPicPr>
            <a:picLocks noGrp="1" noChangeAspect="1"/>
          </p:cNvPicPr>
          <p:nvPr>
            <p:ph sz="half" idx="2"/>
          </p:nvPr>
        </p:nvPicPr>
        <p:blipFill>
          <a:blip r:embed="rId7"/>
          <a:stretch>
            <a:fillRect/>
          </a:stretch>
        </p:blipFill>
        <p:spPr>
          <a:xfrm>
            <a:off x="6246415" y="1775021"/>
            <a:ext cx="5517358" cy="4285859"/>
          </a:xfrm>
          <a:prstGeom prst="rect">
            <a:avLst/>
          </a:prstGeom>
        </p:spPr>
      </p:pic>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p:txBody>
          <a:bodyPr>
            <a:normAutofit/>
          </a:bodyPr>
          <a:lstStyle/>
          <a:p>
            <a:pPr algn="l"/>
            <a:r>
              <a:rPr lang="nb-NO" sz="3200"/>
              <a:t>Lokal mobilisering, påvirkning og støtte</a:t>
            </a:r>
          </a:p>
        </p:txBody>
      </p:sp>
      <p:pic>
        <p:nvPicPr>
          <p:cNvPr id="7" name="Picture 194">
            <a:extLst>
              <a:ext uri="{FF2B5EF4-FFF2-40B4-BE49-F238E27FC236}">
                <a16:creationId xmlns:a16="http://schemas.microsoft.com/office/drawing/2014/main" id="{54EADC04-1B86-4201-95CA-FA337169C1C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852726" y="312891"/>
            <a:ext cx="870985" cy="871200"/>
          </a:xfrm>
          <a:prstGeom prst="rect">
            <a:avLst/>
          </a:prstGeom>
        </p:spPr>
      </p:pic>
      <p:sp>
        <p:nvSpPr>
          <p:cNvPr id="12" name="Tekstfelt 11">
            <a:extLst>
              <a:ext uri="{FF2B5EF4-FFF2-40B4-BE49-F238E27FC236}">
                <a16:creationId xmlns:a16="http://schemas.microsoft.com/office/drawing/2014/main" id="{7F6E2FC7-229E-2989-26E5-820B67B56548}"/>
              </a:ext>
            </a:extLst>
          </p:cNvPr>
          <p:cNvSpPr txBox="1"/>
          <p:nvPr/>
        </p:nvSpPr>
        <p:spPr>
          <a:xfrm>
            <a:off x="414337" y="1105023"/>
            <a:ext cx="10858242" cy="404799"/>
          </a:xfrm>
          <a:prstGeom prst="rect">
            <a:avLst/>
          </a:prstGeom>
          <a:noFill/>
        </p:spPr>
        <p:txBody>
          <a:bodyPr wrap="square" lIns="0" tIns="0" rIns="0" bIns="0" rtlCol="0">
            <a:noAutofit/>
          </a:bodyPr>
          <a:lstStyle/>
          <a:p>
            <a:pPr algn="ctr"/>
            <a:endParaRPr lang="da-DK" sz="2000" b="1">
              <a:solidFill>
                <a:schemeClr val="tx2"/>
              </a:solidFill>
            </a:endParaRPr>
          </a:p>
        </p:txBody>
      </p:sp>
    </p:spTree>
    <p:extLst>
      <p:ext uri="{BB962C8B-B14F-4D97-AF65-F5344CB8AC3E}">
        <p14:creationId xmlns:p14="http://schemas.microsoft.com/office/powerpoint/2010/main" val="11749488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p:txBody>
          <a:bodyPr>
            <a:normAutofit/>
          </a:bodyPr>
          <a:lstStyle/>
          <a:p>
            <a:pPr algn="l"/>
            <a:r>
              <a:rPr lang="da-DK"/>
              <a:t>Medlemmerne er forskellige  </a:t>
            </a:r>
          </a:p>
        </p:txBody>
      </p:sp>
      <p:sp>
        <p:nvSpPr>
          <p:cNvPr id="10" name="TextBox 4">
            <a:extLst>
              <a:ext uri="{FF2B5EF4-FFF2-40B4-BE49-F238E27FC236}">
                <a16:creationId xmlns:a16="http://schemas.microsoft.com/office/drawing/2014/main" id="{F121BCD3-668A-46DE-8DD0-ADAA686497FD}"/>
              </a:ext>
            </a:extLst>
          </p:cNvPr>
          <p:cNvSpPr txBox="1">
            <a:spLocks noGrp="1"/>
          </p:cNvSpPr>
          <p:nvPr>
            <p:ph sz="quarter" idx="14"/>
          </p:nvPr>
        </p:nvSpPr>
        <p:spPr>
          <a:xfrm>
            <a:off x="492173" y="1931915"/>
            <a:ext cx="11247460" cy="428625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522288" lvl="2" indent="-342900" algn="l">
              <a:spcBef>
                <a:spcPts val="0"/>
              </a:spcBef>
              <a:spcAft>
                <a:spcPts val="300"/>
              </a:spcAft>
            </a:pPr>
            <a:r>
              <a:rPr lang="da-DK" sz="2000">
                <a:solidFill>
                  <a:schemeClr val="tx1"/>
                </a:solidFill>
                <a:latin typeface="+mj-lt"/>
                <a:sym typeface="Palatino"/>
              </a:rPr>
              <a:t>Vi fortsætter med øget segmentering i fx</a:t>
            </a:r>
            <a:br>
              <a:rPr lang="da-DK" sz="2000">
                <a:solidFill>
                  <a:schemeClr val="tx1"/>
                </a:solidFill>
                <a:latin typeface="+mj-lt"/>
                <a:sym typeface="Palatino"/>
              </a:rPr>
            </a:br>
            <a:r>
              <a:rPr lang="da-DK" sz="2000">
                <a:solidFill>
                  <a:schemeClr val="tx1"/>
                </a:solidFill>
                <a:latin typeface="+mj-lt"/>
                <a:sym typeface="Palatino"/>
              </a:rPr>
              <a:t>hvervning</a:t>
            </a:r>
          </a:p>
          <a:p>
            <a:pPr marL="522288" lvl="2" indent="-342900" algn="l">
              <a:spcBef>
                <a:spcPts val="0"/>
              </a:spcBef>
              <a:spcAft>
                <a:spcPts val="300"/>
              </a:spcAft>
            </a:pPr>
            <a:r>
              <a:rPr lang="da-DK" sz="2000">
                <a:solidFill>
                  <a:schemeClr val="tx1"/>
                </a:solidFill>
                <a:latin typeface="+mj-lt"/>
                <a:sym typeface="Palatino"/>
              </a:rPr>
              <a:t>Vi styrker den digitale del af medlemskabet </a:t>
            </a:r>
            <a:br>
              <a:rPr lang="da-DK" sz="2000">
                <a:solidFill>
                  <a:schemeClr val="tx1"/>
                </a:solidFill>
                <a:latin typeface="+mj-lt"/>
                <a:sym typeface="Palatino"/>
              </a:rPr>
            </a:br>
            <a:r>
              <a:rPr lang="da-DK" sz="2000">
                <a:solidFill>
                  <a:schemeClr val="tx1"/>
                </a:solidFill>
                <a:latin typeface="+mj-lt"/>
                <a:sym typeface="Palatino"/>
              </a:rPr>
              <a:t>gennem et nyt, stærkt digitalt brugerunivers:</a:t>
            </a:r>
            <a:br>
              <a:rPr lang="da-DK" sz="2000">
                <a:solidFill>
                  <a:schemeClr val="tx1"/>
                </a:solidFill>
                <a:latin typeface="+mj-lt"/>
                <a:sym typeface="Palatino"/>
              </a:rPr>
            </a:br>
            <a:r>
              <a:rPr lang="da-DK" sz="2000">
                <a:solidFill>
                  <a:schemeClr val="tx1"/>
                </a:solidFill>
                <a:latin typeface="+mj-lt"/>
                <a:sym typeface="Palatino"/>
              </a:rPr>
              <a:t>- gør os mindre afhængige af fysisk postlevering</a:t>
            </a:r>
            <a:br>
              <a:rPr lang="da-DK" sz="2000">
                <a:solidFill>
                  <a:schemeClr val="tx1"/>
                </a:solidFill>
                <a:latin typeface="+mj-lt"/>
                <a:sym typeface="Palatino"/>
              </a:rPr>
            </a:br>
            <a:r>
              <a:rPr lang="da-DK" sz="2000">
                <a:solidFill>
                  <a:schemeClr val="tx1"/>
                </a:solidFill>
                <a:latin typeface="+mj-lt"/>
                <a:sym typeface="Palatino"/>
              </a:rPr>
              <a:t>- giver mere skræddersyet medlemsoplevelse</a:t>
            </a:r>
          </a:p>
          <a:p>
            <a:pPr marL="522288" lvl="2" indent="-342900" algn="l">
              <a:spcBef>
                <a:spcPts val="0"/>
              </a:spcBef>
              <a:spcAft>
                <a:spcPts val="300"/>
              </a:spcAft>
            </a:pPr>
            <a:r>
              <a:rPr lang="da-DK" sz="2000">
                <a:solidFill>
                  <a:schemeClr val="tx1"/>
                </a:solidFill>
                <a:latin typeface="+mj-lt"/>
                <a:sym typeface="Palatino"/>
              </a:rPr>
              <a:t>Vi følger op på den af </a:t>
            </a:r>
            <a:r>
              <a:rPr lang="da-DK" sz="2000" err="1">
                <a:solidFill>
                  <a:schemeClr val="tx1"/>
                </a:solidFill>
                <a:latin typeface="+mj-lt"/>
                <a:sym typeface="Palatino"/>
              </a:rPr>
              <a:t>delegeretforsamlingen</a:t>
            </a:r>
            <a:r>
              <a:rPr lang="da-DK" sz="2000">
                <a:solidFill>
                  <a:schemeClr val="tx1"/>
                </a:solidFill>
                <a:latin typeface="+mj-lt"/>
                <a:sym typeface="Palatino"/>
              </a:rPr>
              <a:t> </a:t>
            </a:r>
            <a:br>
              <a:rPr lang="da-DK" sz="2000">
                <a:solidFill>
                  <a:schemeClr val="tx1"/>
                </a:solidFill>
                <a:latin typeface="+mj-lt"/>
                <a:sym typeface="Palatino"/>
              </a:rPr>
            </a:br>
            <a:r>
              <a:rPr lang="da-DK" sz="2000">
                <a:solidFill>
                  <a:schemeClr val="tx1"/>
                </a:solidFill>
                <a:latin typeface="+mj-lt"/>
                <a:sym typeface="Palatino"/>
              </a:rPr>
              <a:t>ønskede kontaktanalyse for at styrke </a:t>
            </a:r>
            <a:br>
              <a:rPr lang="da-DK" sz="2000">
                <a:solidFill>
                  <a:schemeClr val="tx1"/>
                </a:solidFill>
                <a:latin typeface="+mj-lt"/>
                <a:sym typeface="Palatino"/>
              </a:rPr>
            </a:br>
            <a:r>
              <a:rPr lang="da-DK" sz="2000">
                <a:solidFill>
                  <a:schemeClr val="tx1"/>
                </a:solidFill>
                <a:latin typeface="+mj-lt"/>
                <a:sym typeface="Palatino"/>
              </a:rPr>
              <a:t>kommunikationen med medlemmerne, lokalt</a:t>
            </a:r>
            <a:br>
              <a:rPr lang="da-DK" sz="2000">
                <a:solidFill>
                  <a:schemeClr val="tx1"/>
                </a:solidFill>
                <a:latin typeface="+mj-lt"/>
                <a:sym typeface="Palatino"/>
              </a:rPr>
            </a:br>
            <a:r>
              <a:rPr lang="da-DK" sz="2000">
                <a:solidFill>
                  <a:schemeClr val="tx1"/>
                </a:solidFill>
                <a:latin typeface="+mj-lt"/>
                <a:sym typeface="Palatino"/>
              </a:rPr>
              <a:t>og på landsplan – får mange konsekvenser</a:t>
            </a:r>
            <a:br>
              <a:rPr lang="da-DK" sz="2000">
                <a:solidFill>
                  <a:schemeClr val="tx1"/>
                </a:solidFill>
                <a:latin typeface="+mj-lt"/>
                <a:sym typeface="Palatino"/>
              </a:rPr>
            </a:br>
            <a:endParaRPr lang="da-DK" sz="2000">
              <a:solidFill>
                <a:schemeClr val="tx1"/>
              </a:solidFill>
              <a:latin typeface="+mj-lt"/>
              <a:sym typeface="Palatino"/>
            </a:endParaRPr>
          </a:p>
        </p:txBody>
      </p:sp>
      <p:pic>
        <p:nvPicPr>
          <p:cNvPr id="7" name="Picture 15">
            <a:extLst>
              <a:ext uri="{FF2B5EF4-FFF2-40B4-BE49-F238E27FC236}">
                <a16:creationId xmlns:a16="http://schemas.microsoft.com/office/drawing/2014/main" id="{C511BC62-A3DD-4343-998B-717139C3CF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910409" y="213684"/>
            <a:ext cx="1166027" cy="1164889"/>
          </a:xfrm>
          <a:prstGeom prst="rect">
            <a:avLst/>
          </a:prstGeom>
        </p:spPr>
      </p:pic>
      <p:sp>
        <p:nvSpPr>
          <p:cNvPr id="9" name="Oval 153">
            <a:extLst>
              <a:ext uri="{FF2B5EF4-FFF2-40B4-BE49-F238E27FC236}">
                <a16:creationId xmlns:a16="http://schemas.microsoft.com/office/drawing/2014/main" id="{52A5DFA4-15DD-4E9A-BE4E-0F5082A8741E}"/>
              </a:ext>
            </a:extLst>
          </p:cNvPr>
          <p:cNvSpPr/>
          <p:nvPr/>
        </p:nvSpPr>
        <p:spPr>
          <a:xfrm>
            <a:off x="8125709" y="2528301"/>
            <a:ext cx="885600" cy="885600"/>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pic>
        <p:nvPicPr>
          <p:cNvPr id="12" name="Graphic 154">
            <a:extLst>
              <a:ext uri="{FF2B5EF4-FFF2-40B4-BE49-F238E27FC236}">
                <a16:creationId xmlns:a16="http://schemas.microsoft.com/office/drawing/2014/main" id="{75CECEF8-3894-4C21-A5DB-F977BBC8BE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190542" y="2605758"/>
            <a:ext cx="763369" cy="763369"/>
          </a:xfrm>
          <a:prstGeom prst="rect">
            <a:avLst/>
          </a:prstGeom>
        </p:spPr>
      </p:pic>
      <p:sp>
        <p:nvSpPr>
          <p:cNvPr id="13" name="Oval 156">
            <a:extLst>
              <a:ext uri="{FF2B5EF4-FFF2-40B4-BE49-F238E27FC236}">
                <a16:creationId xmlns:a16="http://schemas.microsoft.com/office/drawing/2014/main" id="{F73F5883-26D1-4187-836D-9CFE53FB9CD8}"/>
              </a:ext>
            </a:extLst>
          </p:cNvPr>
          <p:cNvSpPr/>
          <p:nvPr/>
        </p:nvSpPr>
        <p:spPr>
          <a:xfrm>
            <a:off x="10050623" y="2528301"/>
            <a:ext cx="885600" cy="885600"/>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pic>
        <p:nvPicPr>
          <p:cNvPr id="14" name="Graphic 157">
            <a:extLst>
              <a:ext uri="{FF2B5EF4-FFF2-40B4-BE49-F238E27FC236}">
                <a16:creationId xmlns:a16="http://schemas.microsoft.com/office/drawing/2014/main" id="{6B07FD65-2E49-4FC3-80D4-545041EA00D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227248" y="2708311"/>
            <a:ext cx="501906" cy="501906"/>
          </a:xfrm>
          <a:prstGeom prst="rect">
            <a:avLst/>
          </a:prstGeom>
        </p:spPr>
      </p:pic>
      <p:sp>
        <p:nvSpPr>
          <p:cNvPr id="15" name="Oval 158">
            <a:extLst>
              <a:ext uri="{FF2B5EF4-FFF2-40B4-BE49-F238E27FC236}">
                <a16:creationId xmlns:a16="http://schemas.microsoft.com/office/drawing/2014/main" id="{5D8959D8-4C87-4542-A070-FAABE29B3DA6}"/>
              </a:ext>
            </a:extLst>
          </p:cNvPr>
          <p:cNvSpPr/>
          <p:nvPr/>
        </p:nvSpPr>
        <p:spPr>
          <a:xfrm>
            <a:off x="8107460" y="3825107"/>
            <a:ext cx="885600" cy="885600"/>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pic>
        <p:nvPicPr>
          <p:cNvPr id="16" name="Graphic 159">
            <a:extLst>
              <a:ext uri="{FF2B5EF4-FFF2-40B4-BE49-F238E27FC236}">
                <a16:creationId xmlns:a16="http://schemas.microsoft.com/office/drawing/2014/main" id="{922DA096-95B7-459E-8EFD-FC9F257B4B5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168571" y="3888276"/>
            <a:ext cx="763370" cy="763370"/>
          </a:xfrm>
          <a:prstGeom prst="rect">
            <a:avLst/>
          </a:prstGeom>
        </p:spPr>
      </p:pic>
      <p:sp>
        <p:nvSpPr>
          <p:cNvPr id="17" name="Oval 143">
            <a:extLst>
              <a:ext uri="{FF2B5EF4-FFF2-40B4-BE49-F238E27FC236}">
                <a16:creationId xmlns:a16="http://schemas.microsoft.com/office/drawing/2014/main" id="{762B4834-E842-429D-B521-B5C789C4B021}"/>
              </a:ext>
            </a:extLst>
          </p:cNvPr>
          <p:cNvSpPr/>
          <p:nvPr/>
        </p:nvSpPr>
        <p:spPr>
          <a:xfrm>
            <a:off x="10034852" y="3819526"/>
            <a:ext cx="885600" cy="885600"/>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pic>
        <p:nvPicPr>
          <p:cNvPr id="18" name="Graphic 144">
            <a:extLst>
              <a:ext uri="{FF2B5EF4-FFF2-40B4-BE49-F238E27FC236}">
                <a16:creationId xmlns:a16="http://schemas.microsoft.com/office/drawing/2014/main" id="{8DB85A69-0274-41EE-BC28-17052454626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0107693" y="3894603"/>
            <a:ext cx="739912" cy="739912"/>
          </a:xfrm>
          <a:prstGeom prst="rect">
            <a:avLst/>
          </a:prstGeom>
        </p:spPr>
      </p:pic>
      <p:sp>
        <p:nvSpPr>
          <p:cNvPr id="19" name="Oval 166">
            <a:extLst>
              <a:ext uri="{FF2B5EF4-FFF2-40B4-BE49-F238E27FC236}">
                <a16:creationId xmlns:a16="http://schemas.microsoft.com/office/drawing/2014/main" id="{35937A9A-6117-421A-B7A9-67DF4B0AEEEF}"/>
              </a:ext>
            </a:extLst>
          </p:cNvPr>
          <p:cNvSpPr/>
          <p:nvPr/>
        </p:nvSpPr>
        <p:spPr>
          <a:xfrm>
            <a:off x="8109941" y="5119000"/>
            <a:ext cx="887028" cy="887024"/>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sp>
        <p:nvSpPr>
          <p:cNvPr id="20" name="Oval 169">
            <a:extLst>
              <a:ext uri="{FF2B5EF4-FFF2-40B4-BE49-F238E27FC236}">
                <a16:creationId xmlns:a16="http://schemas.microsoft.com/office/drawing/2014/main" id="{E22E2E7F-00FE-4B30-80D0-F0510A494E5C}"/>
              </a:ext>
            </a:extLst>
          </p:cNvPr>
          <p:cNvSpPr/>
          <p:nvPr/>
        </p:nvSpPr>
        <p:spPr>
          <a:xfrm>
            <a:off x="10034852" y="5119000"/>
            <a:ext cx="887028" cy="887024"/>
          </a:xfrm>
          <a:prstGeom prst="ellipse">
            <a:avLst/>
          </a:prstGeom>
          <a:solidFill>
            <a:schemeClr val="accent3"/>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en-US" sz="2700" b="0" i="0" u="none" strike="noStrike" cap="none" spc="0" normalizeH="0" baseline="0" err="1">
              <a:solidFill>
                <a:srgbClr val="FFFFFF"/>
              </a:solidFill>
              <a:uFillTx/>
              <a:ea typeface="Palatino"/>
              <a:cs typeface="Palatino"/>
              <a:sym typeface="Palatino"/>
            </a:endParaRPr>
          </a:p>
        </p:txBody>
      </p:sp>
      <p:pic>
        <p:nvPicPr>
          <p:cNvPr id="21" name="Graphic 170">
            <a:extLst>
              <a:ext uri="{FF2B5EF4-FFF2-40B4-BE49-F238E27FC236}">
                <a16:creationId xmlns:a16="http://schemas.microsoft.com/office/drawing/2014/main" id="{030A8B66-9961-438A-8345-4D55E4FD049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0181963" y="5266111"/>
            <a:ext cx="592803" cy="592801"/>
          </a:xfrm>
          <a:prstGeom prst="rect">
            <a:avLst/>
          </a:prstGeom>
        </p:spPr>
      </p:pic>
      <p:grpSp>
        <p:nvGrpSpPr>
          <p:cNvPr id="22" name="Group 12">
            <a:extLst>
              <a:ext uri="{FF2B5EF4-FFF2-40B4-BE49-F238E27FC236}">
                <a16:creationId xmlns:a16="http://schemas.microsoft.com/office/drawing/2014/main" id="{BE14B5F7-B371-43BE-9716-1A8182BB7049}"/>
              </a:ext>
            </a:extLst>
          </p:cNvPr>
          <p:cNvGrpSpPr/>
          <p:nvPr/>
        </p:nvGrpSpPr>
        <p:grpSpPr>
          <a:xfrm>
            <a:off x="8224504" y="5320898"/>
            <a:ext cx="629951" cy="442764"/>
            <a:chOff x="3813690" y="3214079"/>
            <a:chExt cx="721064" cy="506804"/>
          </a:xfrm>
        </p:grpSpPr>
        <p:sp>
          <p:nvSpPr>
            <p:cNvPr id="23" name="Freeform: Shape 13">
              <a:extLst>
                <a:ext uri="{FF2B5EF4-FFF2-40B4-BE49-F238E27FC236}">
                  <a16:creationId xmlns:a16="http://schemas.microsoft.com/office/drawing/2014/main" id="{3F323E4B-BFA9-42DB-8156-50B7DC495404}"/>
                </a:ext>
              </a:extLst>
            </p:cNvPr>
            <p:cNvSpPr/>
            <p:nvPr/>
          </p:nvSpPr>
          <p:spPr>
            <a:xfrm>
              <a:off x="4186557" y="3622677"/>
              <a:ext cx="25149" cy="91303"/>
            </a:xfrm>
            <a:custGeom>
              <a:avLst/>
              <a:gdLst>
                <a:gd name="connsiteX0" fmla="*/ 25150 w 25149"/>
                <a:gd name="connsiteY0" fmla="*/ 91303 h 91303"/>
                <a:gd name="connsiteX1" fmla="*/ 0 w 25149"/>
                <a:gd name="connsiteY1" fmla="*/ 0 h 91303"/>
              </a:gdLst>
              <a:ahLst/>
              <a:cxnLst>
                <a:cxn ang="0">
                  <a:pos x="connsiteX0" y="connsiteY0"/>
                </a:cxn>
                <a:cxn ang="0">
                  <a:pos x="connsiteX1" y="connsiteY1"/>
                </a:cxn>
              </a:cxnLst>
              <a:rect l="l" t="t" r="r" b="b"/>
              <a:pathLst>
                <a:path w="25149" h="91303">
                  <a:moveTo>
                    <a:pt x="25150" y="91303"/>
                  </a:moveTo>
                  <a:lnTo>
                    <a:pt x="0" y="0"/>
                  </a:lnTo>
                </a:path>
              </a:pathLst>
            </a:custGeom>
            <a:ln w="12700" cap="rnd">
              <a:solidFill>
                <a:schemeClr val="bg1"/>
              </a:solidFill>
              <a:prstDash val="solid"/>
              <a:round/>
            </a:ln>
          </p:spPr>
          <p:txBody>
            <a:bodyPr rtlCol="0" anchor="ctr"/>
            <a:lstStyle/>
            <a:p>
              <a:endParaRPr lang="da-DK"/>
            </a:p>
          </p:txBody>
        </p:sp>
        <p:sp>
          <p:nvSpPr>
            <p:cNvPr id="24" name="Freeform: Shape 14">
              <a:extLst>
                <a:ext uri="{FF2B5EF4-FFF2-40B4-BE49-F238E27FC236}">
                  <a16:creationId xmlns:a16="http://schemas.microsoft.com/office/drawing/2014/main" id="{5F3067CA-909E-4301-ACC1-D2D0DD2896B1}"/>
                </a:ext>
              </a:extLst>
            </p:cNvPr>
            <p:cNvSpPr/>
            <p:nvPr/>
          </p:nvSpPr>
          <p:spPr>
            <a:xfrm>
              <a:off x="4233986" y="3621788"/>
              <a:ext cx="25422" cy="92191"/>
            </a:xfrm>
            <a:custGeom>
              <a:avLst/>
              <a:gdLst>
                <a:gd name="connsiteX0" fmla="*/ 25423 w 25422"/>
                <a:gd name="connsiteY0" fmla="*/ 92192 h 92191"/>
                <a:gd name="connsiteX1" fmla="*/ 0 w 25422"/>
                <a:gd name="connsiteY1" fmla="*/ 0 h 92191"/>
              </a:gdLst>
              <a:ahLst/>
              <a:cxnLst>
                <a:cxn ang="0">
                  <a:pos x="connsiteX0" y="connsiteY0"/>
                </a:cxn>
                <a:cxn ang="0">
                  <a:pos x="connsiteX1" y="connsiteY1"/>
                </a:cxn>
              </a:cxnLst>
              <a:rect l="l" t="t" r="r" b="b"/>
              <a:pathLst>
                <a:path w="25422" h="92191">
                  <a:moveTo>
                    <a:pt x="25423" y="92192"/>
                  </a:moveTo>
                  <a:lnTo>
                    <a:pt x="0" y="0"/>
                  </a:lnTo>
                </a:path>
              </a:pathLst>
            </a:custGeom>
            <a:ln w="12700" cap="rnd">
              <a:solidFill>
                <a:schemeClr val="bg1"/>
              </a:solidFill>
              <a:prstDash val="solid"/>
              <a:round/>
            </a:ln>
          </p:spPr>
          <p:txBody>
            <a:bodyPr rtlCol="0" anchor="ctr"/>
            <a:lstStyle/>
            <a:p>
              <a:endParaRPr lang="da-DK"/>
            </a:p>
          </p:txBody>
        </p:sp>
        <p:sp>
          <p:nvSpPr>
            <p:cNvPr id="25" name="Freeform: Shape 15">
              <a:extLst>
                <a:ext uri="{FF2B5EF4-FFF2-40B4-BE49-F238E27FC236}">
                  <a16:creationId xmlns:a16="http://schemas.microsoft.com/office/drawing/2014/main" id="{D938239C-F98E-45FB-BA51-5C2D33949015}"/>
                </a:ext>
              </a:extLst>
            </p:cNvPr>
            <p:cNvSpPr/>
            <p:nvPr/>
          </p:nvSpPr>
          <p:spPr>
            <a:xfrm>
              <a:off x="4140154" y="3714049"/>
              <a:ext cx="171672" cy="6834"/>
            </a:xfrm>
            <a:custGeom>
              <a:avLst/>
              <a:gdLst>
                <a:gd name="connsiteX0" fmla="*/ 0 w 171672"/>
                <a:gd name="connsiteY0" fmla="*/ 0 h 6834"/>
                <a:gd name="connsiteX1" fmla="*/ 171672 w 171672"/>
                <a:gd name="connsiteY1" fmla="*/ 0 h 6834"/>
              </a:gdLst>
              <a:ahLst/>
              <a:cxnLst>
                <a:cxn ang="0">
                  <a:pos x="connsiteX0" y="connsiteY0"/>
                </a:cxn>
                <a:cxn ang="0">
                  <a:pos x="connsiteX1" y="connsiteY1"/>
                </a:cxn>
              </a:cxnLst>
              <a:rect l="l" t="t" r="r" b="b"/>
              <a:pathLst>
                <a:path w="171672" h="6834">
                  <a:moveTo>
                    <a:pt x="0" y="0"/>
                  </a:moveTo>
                  <a:lnTo>
                    <a:pt x="171672" y="0"/>
                  </a:lnTo>
                </a:path>
              </a:pathLst>
            </a:custGeom>
            <a:ln w="12700" cap="rnd">
              <a:solidFill>
                <a:schemeClr val="bg1"/>
              </a:solidFill>
              <a:prstDash val="solid"/>
              <a:round/>
            </a:ln>
          </p:spPr>
          <p:txBody>
            <a:bodyPr rtlCol="0" anchor="ctr"/>
            <a:lstStyle/>
            <a:p>
              <a:endParaRPr lang="da-DK"/>
            </a:p>
          </p:txBody>
        </p:sp>
        <p:sp>
          <p:nvSpPr>
            <p:cNvPr id="26" name="Freeform: Shape 16">
              <a:extLst>
                <a:ext uri="{FF2B5EF4-FFF2-40B4-BE49-F238E27FC236}">
                  <a16:creationId xmlns:a16="http://schemas.microsoft.com/office/drawing/2014/main" id="{8540F700-3759-4A21-AD47-DFCEE2D2F639}"/>
                </a:ext>
              </a:extLst>
            </p:cNvPr>
            <p:cNvSpPr/>
            <p:nvPr/>
          </p:nvSpPr>
          <p:spPr>
            <a:xfrm>
              <a:off x="3813803" y="3214079"/>
              <a:ext cx="643861" cy="401193"/>
            </a:xfrm>
            <a:custGeom>
              <a:avLst/>
              <a:gdLst>
                <a:gd name="connsiteX0" fmla="*/ 643616 w 643861"/>
                <a:gd name="connsiteY0" fmla="*/ 44271 h 401193"/>
                <a:gd name="connsiteX1" fmla="*/ 497777 w 643861"/>
                <a:gd name="connsiteY1" fmla="*/ 46184 h 401193"/>
                <a:gd name="connsiteX2" fmla="*/ 463606 w 643861"/>
                <a:gd name="connsiteY2" fmla="*/ 109810 h 401193"/>
                <a:gd name="connsiteX3" fmla="*/ 394172 w 643861"/>
                <a:gd name="connsiteY3" fmla="*/ 161475 h 401193"/>
                <a:gd name="connsiteX4" fmla="*/ 17477 w 643861"/>
                <a:gd name="connsiteY4" fmla="*/ 338000 h 401193"/>
                <a:gd name="connsiteX5" fmla="*/ 3679 w 643861"/>
                <a:gd name="connsiteY5" fmla="*/ 383200 h 401193"/>
                <a:gd name="connsiteX6" fmla="*/ 34904 w 643861"/>
                <a:gd name="connsiteY6" fmla="*/ 400873 h 401193"/>
                <a:gd name="connsiteX7" fmla="*/ 419458 w 643861"/>
                <a:gd name="connsiteY7" fmla="*/ 339366 h 401193"/>
                <a:gd name="connsiteX8" fmla="*/ 484313 w 643861"/>
                <a:gd name="connsiteY8" fmla="*/ 193186 h 40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861" h="401193">
                  <a:moveTo>
                    <a:pt x="643616" y="44271"/>
                  </a:moveTo>
                  <a:cubicBezTo>
                    <a:pt x="619696" y="-12384"/>
                    <a:pt x="530785" y="-18466"/>
                    <a:pt x="497777" y="46184"/>
                  </a:cubicBezTo>
                  <a:cubicBezTo>
                    <a:pt x="478026" y="84865"/>
                    <a:pt x="477274" y="91699"/>
                    <a:pt x="463606" y="109810"/>
                  </a:cubicBezTo>
                  <a:cubicBezTo>
                    <a:pt x="444402" y="134481"/>
                    <a:pt x="422602" y="147876"/>
                    <a:pt x="394172" y="161475"/>
                  </a:cubicBezTo>
                  <a:cubicBezTo>
                    <a:pt x="294599" y="209314"/>
                    <a:pt x="92789" y="298157"/>
                    <a:pt x="17477" y="338000"/>
                  </a:cubicBezTo>
                  <a:cubicBezTo>
                    <a:pt x="1185" y="346672"/>
                    <a:pt x="-4994" y="366908"/>
                    <a:pt x="3679" y="383200"/>
                  </a:cubicBezTo>
                  <a:cubicBezTo>
                    <a:pt x="9775" y="394654"/>
                    <a:pt x="21947" y="401543"/>
                    <a:pt x="34904" y="400873"/>
                  </a:cubicBezTo>
                  <a:cubicBezTo>
                    <a:pt x="144249" y="395337"/>
                    <a:pt x="397110" y="342032"/>
                    <a:pt x="419458" y="339366"/>
                  </a:cubicBezTo>
                  <a:cubicBezTo>
                    <a:pt x="537414" y="325015"/>
                    <a:pt x="530853" y="229542"/>
                    <a:pt x="484313" y="193186"/>
                  </a:cubicBezTo>
                </a:path>
              </a:pathLst>
            </a:custGeom>
            <a:noFill/>
            <a:ln w="12700" cap="rnd">
              <a:solidFill>
                <a:schemeClr val="bg1"/>
              </a:solidFill>
              <a:prstDash val="solid"/>
              <a:round/>
            </a:ln>
          </p:spPr>
          <p:txBody>
            <a:bodyPr rtlCol="0" anchor="ctr"/>
            <a:lstStyle/>
            <a:p>
              <a:endParaRPr lang="da-DK"/>
            </a:p>
          </p:txBody>
        </p:sp>
        <p:sp>
          <p:nvSpPr>
            <p:cNvPr id="27" name="Freeform: Shape 17">
              <a:extLst>
                <a:ext uri="{FF2B5EF4-FFF2-40B4-BE49-F238E27FC236}">
                  <a16:creationId xmlns:a16="http://schemas.microsoft.com/office/drawing/2014/main" id="{B1D0E120-F4F8-40F1-98B6-2177CD8A780B}"/>
                </a:ext>
              </a:extLst>
            </p:cNvPr>
            <p:cNvSpPr/>
            <p:nvPr/>
          </p:nvSpPr>
          <p:spPr>
            <a:xfrm>
              <a:off x="4394313" y="3276804"/>
              <a:ext cx="21185" cy="21185"/>
            </a:xfrm>
            <a:custGeom>
              <a:avLst/>
              <a:gdLst>
                <a:gd name="connsiteX0" fmla="*/ 21185 w 21185"/>
                <a:gd name="connsiteY0" fmla="*/ 10593 h 21185"/>
                <a:gd name="connsiteX1" fmla="*/ 10593 w 21185"/>
                <a:gd name="connsiteY1" fmla="*/ 21186 h 21185"/>
                <a:gd name="connsiteX2" fmla="*/ 0 w 21185"/>
                <a:gd name="connsiteY2" fmla="*/ 10593 h 21185"/>
                <a:gd name="connsiteX3" fmla="*/ 10593 w 21185"/>
                <a:gd name="connsiteY3" fmla="*/ 0 h 21185"/>
                <a:gd name="connsiteX4" fmla="*/ 21185 w 21185"/>
                <a:gd name="connsiteY4" fmla="*/ 10593 h 2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85" h="21185">
                  <a:moveTo>
                    <a:pt x="21185" y="10593"/>
                  </a:moveTo>
                  <a:cubicBezTo>
                    <a:pt x="21185" y="16443"/>
                    <a:pt x="16443" y="21186"/>
                    <a:pt x="10593" y="21186"/>
                  </a:cubicBezTo>
                  <a:cubicBezTo>
                    <a:pt x="4743" y="21186"/>
                    <a:pt x="0" y="16443"/>
                    <a:pt x="0" y="10593"/>
                  </a:cubicBezTo>
                  <a:cubicBezTo>
                    <a:pt x="0" y="4743"/>
                    <a:pt x="4743" y="0"/>
                    <a:pt x="10593" y="0"/>
                  </a:cubicBezTo>
                  <a:cubicBezTo>
                    <a:pt x="16443" y="0"/>
                    <a:pt x="21185" y="4743"/>
                    <a:pt x="21185" y="10593"/>
                  </a:cubicBezTo>
                  <a:close/>
                </a:path>
              </a:pathLst>
            </a:custGeom>
            <a:noFill/>
            <a:ln w="12700" cap="rnd">
              <a:solidFill>
                <a:schemeClr val="bg1"/>
              </a:solidFill>
              <a:prstDash val="solid"/>
              <a:round/>
            </a:ln>
          </p:spPr>
          <p:txBody>
            <a:bodyPr rtlCol="0" anchor="ctr"/>
            <a:lstStyle/>
            <a:p>
              <a:endParaRPr lang="da-DK"/>
            </a:p>
          </p:txBody>
        </p:sp>
        <p:sp>
          <p:nvSpPr>
            <p:cNvPr id="28" name="Freeform: Shape 18">
              <a:extLst>
                <a:ext uri="{FF2B5EF4-FFF2-40B4-BE49-F238E27FC236}">
                  <a16:creationId xmlns:a16="http://schemas.microsoft.com/office/drawing/2014/main" id="{AA41F5DE-C3B9-4B6C-B6D3-CF69205F9CB0}"/>
                </a:ext>
              </a:extLst>
            </p:cNvPr>
            <p:cNvSpPr/>
            <p:nvPr/>
          </p:nvSpPr>
          <p:spPr>
            <a:xfrm>
              <a:off x="4122727" y="3416424"/>
              <a:ext cx="206526" cy="54806"/>
            </a:xfrm>
            <a:custGeom>
              <a:avLst/>
              <a:gdLst>
                <a:gd name="connsiteX0" fmla="*/ -246 w 206526"/>
                <a:gd name="connsiteY0" fmla="*/ -275 h 54806"/>
                <a:gd name="connsiteX1" fmla="*/ 206280 w 206526"/>
                <a:gd name="connsiteY1" fmla="*/ 53030 h 54806"/>
              </a:gdLst>
              <a:ahLst/>
              <a:cxnLst>
                <a:cxn ang="0">
                  <a:pos x="connsiteX0" y="connsiteY0"/>
                </a:cxn>
                <a:cxn ang="0">
                  <a:pos x="connsiteX1" y="connsiteY1"/>
                </a:cxn>
              </a:cxnLst>
              <a:rect l="l" t="t" r="r" b="b"/>
              <a:pathLst>
                <a:path w="206526" h="54806">
                  <a:moveTo>
                    <a:pt x="-246" y="-275"/>
                  </a:moveTo>
                  <a:cubicBezTo>
                    <a:pt x="60133" y="41344"/>
                    <a:pt x="133299" y="60234"/>
                    <a:pt x="206280" y="53030"/>
                  </a:cubicBezTo>
                </a:path>
              </a:pathLst>
            </a:custGeom>
            <a:noFill/>
            <a:ln w="12700" cap="rnd">
              <a:solidFill>
                <a:schemeClr val="bg1"/>
              </a:solidFill>
              <a:prstDash val="solid"/>
              <a:round/>
            </a:ln>
          </p:spPr>
          <p:txBody>
            <a:bodyPr rtlCol="0" anchor="ctr"/>
            <a:lstStyle/>
            <a:p>
              <a:endParaRPr lang="da-DK"/>
            </a:p>
          </p:txBody>
        </p:sp>
        <p:sp>
          <p:nvSpPr>
            <p:cNvPr id="29" name="Freeform: Shape 19">
              <a:extLst>
                <a:ext uri="{FF2B5EF4-FFF2-40B4-BE49-F238E27FC236}">
                  <a16:creationId xmlns:a16="http://schemas.microsoft.com/office/drawing/2014/main" id="{E86EE329-35AD-498A-8503-D0A5047F7D62}"/>
                </a:ext>
              </a:extLst>
            </p:cNvPr>
            <p:cNvSpPr/>
            <p:nvPr/>
          </p:nvSpPr>
          <p:spPr>
            <a:xfrm>
              <a:off x="4038668" y="3456130"/>
              <a:ext cx="198803" cy="97044"/>
            </a:xfrm>
            <a:custGeom>
              <a:avLst/>
              <a:gdLst>
                <a:gd name="connsiteX0" fmla="*/ -246 w 198803"/>
                <a:gd name="connsiteY0" fmla="*/ -275 h 97044"/>
                <a:gd name="connsiteX1" fmla="*/ 29687 w 198803"/>
                <a:gd name="connsiteY1" fmla="*/ 25899 h 97044"/>
                <a:gd name="connsiteX2" fmla="*/ 95636 w 198803"/>
                <a:gd name="connsiteY2" fmla="*/ 64648 h 97044"/>
                <a:gd name="connsiteX3" fmla="*/ 198557 w 198803"/>
                <a:gd name="connsiteY3" fmla="*/ 96769 h 97044"/>
                <a:gd name="connsiteX4" fmla="*/ 198557 w 198803"/>
                <a:gd name="connsiteY4" fmla="*/ 96769 h 97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03" h="97044">
                  <a:moveTo>
                    <a:pt x="-246" y="-275"/>
                  </a:moveTo>
                  <a:cubicBezTo>
                    <a:pt x="9089" y="9156"/>
                    <a:pt x="19094" y="17903"/>
                    <a:pt x="29687" y="25899"/>
                  </a:cubicBezTo>
                  <a:cubicBezTo>
                    <a:pt x="50155" y="41242"/>
                    <a:pt x="72277" y="54240"/>
                    <a:pt x="95636" y="64648"/>
                  </a:cubicBezTo>
                  <a:cubicBezTo>
                    <a:pt x="128590" y="79280"/>
                    <a:pt x="163129" y="90058"/>
                    <a:pt x="198557" y="96769"/>
                  </a:cubicBezTo>
                  <a:lnTo>
                    <a:pt x="198557" y="96769"/>
                  </a:lnTo>
                </a:path>
              </a:pathLst>
            </a:custGeom>
            <a:noFill/>
            <a:ln w="12700" cap="rnd">
              <a:solidFill>
                <a:schemeClr val="bg1"/>
              </a:solidFill>
              <a:prstDash val="solid"/>
              <a:round/>
            </a:ln>
          </p:spPr>
          <p:txBody>
            <a:bodyPr rtlCol="0" anchor="ctr"/>
            <a:lstStyle/>
            <a:p>
              <a:endParaRPr lang="da-DK"/>
            </a:p>
          </p:txBody>
        </p:sp>
        <p:sp>
          <p:nvSpPr>
            <p:cNvPr id="30" name="Freeform: Shape 20">
              <a:extLst>
                <a:ext uri="{FF2B5EF4-FFF2-40B4-BE49-F238E27FC236}">
                  <a16:creationId xmlns:a16="http://schemas.microsoft.com/office/drawing/2014/main" id="{A7769151-97FD-40C5-B522-EB80C9FCC2AD}"/>
                </a:ext>
              </a:extLst>
            </p:cNvPr>
            <p:cNvSpPr/>
            <p:nvPr/>
          </p:nvSpPr>
          <p:spPr>
            <a:xfrm>
              <a:off x="3813690" y="3482305"/>
              <a:ext cx="254911" cy="95403"/>
            </a:xfrm>
            <a:custGeom>
              <a:avLst/>
              <a:gdLst>
                <a:gd name="connsiteX0" fmla="*/ 254911 w 254911"/>
                <a:gd name="connsiteY0" fmla="*/ 0 h 95403"/>
                <a:gd name="connsiteX1" fmla="*/ 0 w 254911"/>
                <a:gd name="connsiteY1" fmla="*/ 95404 h 95403"/>
              </a:gdLst>
              <a:ahLst/>
              <a:cxnLst>
                <a:cxn ang="0">
                  <a:pos x="connsiteX0" y="connsiteY0"/>
                </a:cxn>
                <a:cxn ang="0">
                  <a:pos x="connsiteX1" y="connsiteY1"/>
                </a:cxn>
              </a:cxnLst>
              <a:rect l="l" t="t" r="r" b="b"/>
              <a:pathLst>
                <a:path w="254911" h="95403">
                  <a:moveTo>
                    <a:pt x="254911" y="0"/>
                  </a:moveTo>
                  <a:lnTo>
                    <a:pt x="0" y="95404"/>
                  </a:lnTo>
                </a:path>
              </a:pathLst>
            </a:custGeom>
            <a:ln w="12700" cap="rnd">
              <a:solidFill>
                <a:schemeClr val="bg1"/>
              </a:solidFill>
              <a:prstDash val="solid"/>
              <a:round/>
            </a:ln>
          </p:spPr>
          <p:txBody>
            <a:bodyPr rtlCol="0" anchor="ctr"/>
            <a:lstStyle/>
            <a:p>
              <a:endParaRPr lang="da-DK"/>
            </a:p>
          </p:txBody>
        </p:sp>
        <p:sp>
          <p:nvSpPr>
            <p:cNvPr id="31" name="Freeform: Shape 21">
              <a:extLst>
                <a:ext uri="{FF2B5EF4-FFF2-40B4-BE49-F238E27FC236}">
                  <a16:creationId xmlns:a16="http://schemas.microsoft.com/office/drawing/2014/main" id="{F21A79C4-B285-4D16-B079-B007C7559AC9}"/>
                </a:ext>
              </a:extLst>
            </p:cNvPr>
            <p:cNvSpPr/>
            <p:nvPr/>
          </p:nvSpPr>
          <p:spPr>
            <a:xfrm>
              <a:off x="3822984" y="3521054"/>
              <a:ext cx="311565" cy="84264"/>
            </a:xfrm>
            <a:custGeom>
              <a:avLst/>
              <a:gdLst>
                <a:gd name="connsiteX0" fmla="*/ 311566 w 311565"/>
                <a:gd name="connsiteY0" fmla="*/ 0 h 84264"/>
                <a:gd name="connsiteX1" fmla="*/ 0 w 311565"/>
                <a:gd name="connsiteY1" fmla="*/ 84264 h 84264"/>
              </a:gdLst>
              <a:ahLst/>
              <a:cxnLst>
                <a:cxn ang="0">
                  <a:pos x="connsiteX0" y="connsiteY0"/>
                </a:cxn>
                <a:cxn ang="0">
                  <a:pos x="connsiteX1" y="connsiteY1"/>
                </a:cxn>
              </a:cxnLst>
              <a:rect l="l" t="t" r="r" b="b"/>
              <a:pathLst>
                <a:path w="311565" h="84264">
                  <a:moveTo>
                    <a:pt x="311566" y="0"/>
                  </a:moveTo>
                  <a:lnTo>
                    <a:pt x="0" y="84264"/>
                  </a:lnTo>
                </a:path>
              </a:pathLst>
            </a:custGeom>
            <a:ln w="12700" cap="rnd">
              <a:solidFill>
                <a:schemeClr val="bg1"/>
              </a:solidFill>
              <a:prstDash val="solid"/>
              <a:round/>
            </a:ln>
          </p:spPr>
          <p:txBody>
            <a:bodyPr rtlCol="0" anchor="ctr"/>
            <a:lstStyle/>
            <a:p>
              <a:endParaRPr lang="da-DK"/>
            </a:p>
          </p:txBody>
        </p:sp>
        <p:sp>
          <p:nvSpPr>
            <p:cNvPr id="32" name="Freeform: Shape 22">
              <a:extLst>
                <a:ext uri="{FF2B5EF4-FFF2-40B4-BE49-F238E27FC236}">
                  <a16:creationId xmlns:a16="http://schemas.microsoft.com/office/drawing/2014/main" id="{F933198C-32C0-4FD7-A819-B3A9FAA72EC2}"/>
                </a:ext>
              </a:extLst>
            </p:cNvPr>
            <p:cNvSpPr/>
            <p:nvPr/>
          </p:nvSpPr>
          <p:spPr>
            <a:xfrm>
              <a:off x="4010853" y="3621788"/>
              <a:ext cx="55629" cy="6834"/>
            </a:xfrm>
            <a:custGeom>
              <a:avLst/>
              <a:gdLst>
                <a:gd name="connsiteX0" fmla="*/ 55630 w 55629"/>
                <a:gd name="connsiteY0" fmla="*/ 0 h 6834"/>
                <a:gd name="connsiteX1" fmla="*/ 0 w 55629"/>
                <a:gd name="connsiteY1" fmla="*/ 0 h 6834"/>
              </a:gdLst>
              <a:ahLst/>
              <a:cxnLst>
                <a:cxn ang="0">
                  <a:pos x="connsiteX0" y="connsiteY0"/>
                </a:cxn>
                <a:cxn ang="0">
                  <a:pos x="connsiteX1" y="connsiteY1"/>
                </a:cxn>
              </a:cxnLst>
              <a:rect l="l" t="t" r="r" b="b"/>
              <a:pathLst>
                <a:path w="55629" h="6834">
                  <a:moveTo>
                    <a:pt x="55630" y="0"/>
                  </a:moveTo>
                  <a:lnTo>
                    <a:pt x="0" y="0"/>
                  </a:lnTo>
                </a:path>
              </a:pathLst>
            </a:custGeom>
            <a:ln w="12700" cap="rnd">
              <a:solidFill>
                <a:schemeClr val="bg1"/>
              </a:solidFill>
              <a:prstDash val="solid"/>
              <a:round/>
            </a:ln>
          </p:spPr>
          <p:txBody>
            <a:bodyPr rtlCol="0" anchor="ctr"/>
            <a:lstStyle/>
            <a:p>
              <a:endParaRPr lang="da-DK"/>
            </a:p>
          </p:txBody>
        </p:sp>
        <p:sp>
          <p:nvSpPr>
            <p:cNvPr id="33" name="Freeform: Shape 23">
              <a:extLst>
                <a:ext uri="{FF2B5EF4-FFF2-40B4-BE49-F238E27FC236}">
                  <a16:creationId xmlns:a16="http://schemas.microsoft.com/office/drawing/2014/main" id="{298166F5-98B3-4219-B772-33B7FCDCCEE5}"/>
                </a:ext>
              </a:extLst>
            </p:cNvPr>
            <p:cNvSpPr/>
            <p:nvPr/>
          </p:nvSpPr>
          <p:spPr>
            <a:xfrm>
              <a:off x="4120062" y="3287397"/>
              <a:ext cx="414692" cy="335143"/>
            </a:xfrm>
            <a:custGeom>
              <a:avLst/>
              <a:gdLst>
                <a:gd name="connsiteX0" fmla="*/ 348019 w 414692"/>
                <a:gd name="connsiteY0" fmla="*/ -275 h 335143"/>
                <a:gd name="connsiteX1" fmla="*/ 414446 w 414692"/>
                <a:gd name="connsiteY1" fmla="*/ 54397 h 335143"/>
                <a:gd name="connsiteX2" fmla="*/ 350479 w 414692"/>
                <a:gd name="connsiteY2" fmla="*/ 59865 h 335143"/>
                <a:gd name="connsiteX3" fmla="*/ 319657 w 414692"/>
                <a:gd name="connsiteY3" fmla="*/ 75514 h 335143"/>
                <a:gd name="connsiteX4" fmla="*/ 309406 w 414692"/>
                <a:gd name="connsiteY4" fmla="*/ 86381 h 335143"/>
                <a:gd name="connsiteX5" fmla="*/ 278448 w 414692"/>
                <a:gd name="connsiteY5" fmla="*/ 162786 h 335143"/>
                <a:gd name="connsiteX6" fmla="*/ 278448 w 414692"/>
                <a:gd name="connsiteY6" fmla="*/ 176454 h 335143"/>
                <a:gd name="connsiteX7" fmla="*/ 182224 w 414692"/>
                <a:gd name="connsiteY7" fmla="*/ 325642 h 335143"/>
                <a:gd name="connsiteX8" fmla="*/ 91331 w 414692"/>
                <a:gd name="connsiteY8" fmla="*/ 334868 h 335143"/>
                <a:gd name="connsiteX9" fmla="*/ -246 w 414692"/>
                <a:gd name="connsiteY9" fmla="*/ 334868 h 33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4692" h="335143">
                  <a:moveTo>
                    <a:pt x="348019" y="-275"/>
                  </a:moveTo>
                  <a:lnTo>
                    <a:pt x="414446" y="54397"/>
                  </a:lnTo>
                  <a:lnTo>
                    <a:pt x="350479" y="59865"/>
                  </a:lnTo>
                  <a:cubicBezTo>
                    <a:pt x="338519" y="60719"/>
                    <a:pt x="327407" y="66364"/>
                    <a:pt x="319657" y="75514"/>
                  </a:cubicBezTo>
                  <a:cubicBezTo>
                    <a:pt x="316445" y="78795"/>
                    <a:pt x="313233" y="82349"/>
                    <a:pt x="309406" y="86381"/>
                  </a:cubicBezTo>
                  <a:cubicBezTo>
                    <a:pt x="279063" y="116246"/>
                    <a:pt x="278448" y="117407"/>
                    <a:pt x="278448" y="162786"/>
                  </a:cubicBezTo>
                  <a:lnTo>
                    <a:pt x="278448" y="176454"/>
                  </a:lnTo>
                  <a:cubicBezTo>
                    <a:pt x="278448" y="259147"/>
                    <a:pt x="265600" y="299946"/>
                    <a:pt x="182224" y="325642"/>
                  </a:cubicBezTo>
                  <a:cubicBezTo>
                    <a:pt x="160833" y="332476"/>
                    <a:pt x="115181" y="334732"/>
                    <a:pt x="91331" y="334868"/>
                  </a:cubicBezTo>
                  <a:lnTo>
                    <a:pt x="-246" y="334868"/>
                  </a:lnTo>
                </a:path>
              </a:pathLst>
            </a:custGeom>
            <a:noFill/>
            <a:ln w="12700" cap="rnd">
              <a:solidFill>
                <a:schemeClr val="bg1"/>
              </a:solidFill>
              <a:prstDash val="solid"/>
              <a:round/>
            </a:ln>
          </p:spPr>
          <p:txBody>
            <a:bodyPr rtlCol="0" anchor="ctr"/>
            <a:lstStyle/>
            <a:p>
              <a:endParaRPr lang="da-DK"/>
            </a:p>
          </p:txBody>
        </p:sp>
      </p:grpSp>
    </p:spTree>
    <p:extLst>
      <p:ext uri="{BB962C8B-B14F-4D97-AF65-F5344CB8AC3E}">
        <p14:creationId xmlns:p14="http://schemas.microsoft.com/office/powerpoint/2010/main" val="306812320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a:xfrm>
            <a:off x="484211" y="226542"/>
            <a:ext cx="10690608" cy="972021"/>
          </a:xfrm>
        </p:spPr>
        <p:txBody>
          <a:bodyPr>
            <a:normAutofit/>
          </a:bodyPr>
          <a:lstStyle/>
          <a:p>
            <a:pPr algn="l"/>
            <a:r>
              <a:rPr lang="da-DK" sz="3200"/>
              <a:t>Opbygning af digitale og teknologiske kompetencer</a:t>
            </a:r>
          </a:p>
        </p:txBody>
      </p:sp>
      <p:pic>
        <p:nvPicPr>
          <p:cNvPr id="7" name="Picture 9">
            <a:extLst>
              <a:ext uri="{FF2B5EF4-FFF2-40B4-BE49-F238E27FC236}">
                <a16:creationId xmlns:a16="http://schemas.microsoft.com/office/drawing/2014/main" id="{7B49C9F8-E94D-4A34-A1AC-FD5AB1DFA6C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256875" y="91712"/>
            <a:ext cx="1117004" cy="1115913"/>
          </a:xfrm>
          <a:prstGeom prst="rect">
            <a:avLst/>
          </a:prstGeom>
        </p:spPr>
      </p:pic>
      <p:sp>
        <p:nvSpPr>
          <p:cNvPr id="10" name="TextBox 4">
            <a:extLst>
              <a:ext uri="{FF2B5EF4-FFF2-40B4-BE49-F238E27FC236}">
                <a16:creationId xmlns:a16="http://schemas.microsoft.com/office/drawing/2014/main" id="{F121BCD3-668A-46DE-8DD0-ADAA686497FD}"/>
              </a:ext>
            </a:extLst>
          </p:cNvPr>
          <p:cNvSpPr txBox="1">
            <a:spLocks noGrp="1"/>
          </p:cNvSpPr>
          <p:nvPr>
            <p:ph sz="quarter" idx="14"/>
          </p:nvPr>
        </p:nvSpPr>
        <p:spPr>
          <a:xfrm>
            <a:off x="476250" y="1922081"/>
            <a:ext cx="6999206" cy="428625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182563" lvl="2" indent="-3175" algn="l">
              <a:spcBef>
                <a:spcPts val="0"/>
              </a:spcBef>
              <a:spcAft>
                <a:spcPts val="300"/>
              </a:spcAft>
              <a:buNone/>
            </a:pPr>
            <a:endParaRPr lang="da-DK" sz="2400" b="1">
              <a:solidFill>
                <a:schemeClr val="tx1"/>
              </a:solidFill>
              <a:latin typeface="+mj-lt"/>
              <a:sym typeface="Palatino"/>
            </a:endParaRPr>
          </a:p>
          <a:p>
            <a:pPr marL="522288" lvl="2" indent="-342900" algn="l">
              <a:spcBef>
                <a:spcPts val="0"/>
              </a:spcBef>
              <a:spcAft>
                <a:spcPts val="300"/>
              </a:spcAft>
              <a:buFont typeface="Arial" panose="020B0604020202020204" pitchFamily="34" charset="0"/>
              <a:buChar char="•"/>
            </a:pPr>
            <a:r>
              <a:rPr lang="da-DK" sz="2400">
                <a:solidFill>
                  <a:schemeClr val="tx1"/>
                </a:solidFill>
                <a:latin typeface="+mj-lt"/>
                <a:sym typeface="Palatino"/>
              </a:rPr>
              <a:t>Vores digitale sikkerhed øges markant</a:t>
            </a:r>
            <a:br>
              <a:rPr lang="da-DK" sz="2400">
                <a:solidFill>
                  <a:schemeClr val="tx1"/>
                </a:solidFill>
                <a:latin typeface="+mj-lt"/>
                <a:sym typeface="Palatino"/>
              </a:rPr>
            </a:br>
            <a:r>
              <a:rPr lang="da-DK" sz="2400">
                <a:solidFill>
                  <a:schemeClr val="tx1"/>
                </a:solidFill>
                <a:latin typeface="+mj-lt"/>
                <a:sym typeface="Palatino"/>
              </a:rPr>
              <a:t>gennem opgradering af Sitecore (version 10.x)</a:t>
            </a:r>
          </a:p>
          <a:p>
            <a:pPr marL="522288" lvl="2" indent="-342900" algn="l">
              <a:spcBef>
                <a:spcPts val="0"/>
              </a:spcBef>
              <a:spcAft>
                <a:spcPts val="300"/>
              </a:spcAft>
              <a:buFont typeface="Arial" panose="020B0604020202020204" pitchFamily="34" charset="0"/>
              <a:buChar char="•"/>
            </a:pPr>
            <a:endParaRPr lang="da-DK" sz="2400">
              <a:solidFill>
                <a:schemeClr val="tx1"/>
              </a:solidFill>
              <a:latin typeface="+mj-lt"/>
              <a:sym typeface="Palatino"/>
            </a:endParaRPr>
          </a:p>
          <a:p>
            <a:pPr marL="522288" lvl="2" indent="-342900" algn="l">
              <a:spcBef>
                <a:spcPts val="0"/>
              </a:spcBef>
              <a:spcAft>
                <a:spcPts val="300"/>
              </a:spcAft>
              <a:buFont typeface="Arial" panose="020B0604020202020204" pitchFamily="34" charset="0"/>
              <a:buChar char="•"/>
            </a:pPr>
            <a:r>
              <a:rPr lang="da-DK" sz="2400">
                <a:solidFill>
                  <a:schemeClr val="tx1"/>
                </a:solidFill>
                <a:latin typeface="+mj-lt"/>
                <a:sym typeface="Palatino"/>
              </a:rPr>
              <a:t>Vi indfører digitale fakturaer	</a:t>
            </a:r>
          </a:p>
        </p:txBody>
      </p:sp>
      <p:pic>
        <p:nvPicPr>
          <p:cNvPr id="3" name="Billede 2">
            <a:extLst>
              <a:ext uri="{FF2B5EF4-FFF2-40B4-BE49-F238E27FC236}">
                <a16:creationId xmlns:a16="http://schemas.microsoft.com/office/drawing/2014/main" id="{79705C16-52DA-4E3D-BA1A-B5122C4264C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67"/>
          <a:stretch/>
        </p:blipFill>
        <p:spPr>
          <a:xfrm>
            <a:off x="7124896" y="1920731"/>
            <a:ext cx="4590854" cy="4287600"/>
          </a:xfrm>
          <a:prstGeom prst="rect">
            <a:avLst/>
          </a:prstGeom>
        </p:spPr>
      </p:pic>
    </p:spTree>
    <p:extLst>
      <p:ext uri="{BB962C8B-B14F-4D97-AF65-F5344CB8AC3E}">
        <p14:creationId xmlns:p14="http://schemas.microsoft.com/office/powerpoint/2010/main" val="295553093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AA55B-17FE-2C87-E011-1762EF004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5B3AA55B-17FE-2C87-E011-1762EF004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28A4EC-4226-F2CE-0155-0C6C01B12A3A}"/>
              </a:ext>
            </a:extLst>
          </p:cNvPr>
          <p:cNvSpPr>
            <a:spLocks noGrp="1"/>
          </p:cNvSpPr>
          <p:nvPr>
            <p:ph type="title"/>
          </p:nvPr>
        </p:nvSpPr>
        <p:spPr>
          <a:xfrm>
            <a:off x="484211" y="226542"/>
            <a:ext cx="10456691" cy="972021"/>
          </a:xfrm>
        </p:spPr>
        <p:txBody>
          <a:bodyPr>
            <a:noAutofit/>
          </a:bodyPr>
          <a:lstStyle/>
          <a:p>
            <a:pPr algn="l"/>
            <a:r>
              <a:rPr lang="da-DK" sz="3200"/>
              <a:t>Ældre Sagen som videnbank og fremtidsskaber</a:t>
            </a:r>
          </a:p>
        </p:txBody>
      </p:sp>
      <p:sp>
        <p:nvSpPr>
          <p:cNvPr id="10" name="TextBox 4">
            <a:extLst>
              <a:ext uri="{FF2B5EF4-FFF2-40B4-BE49-F238E27FC236}">
                <a16:creationId xmlns:a16="http://schemas.microsoft.com/office/drawing/2014/main" id="{F121BCD3-668A-46DE-8DD0-ADAA686497FD}"/>
              </a:ext>
            </a:extLst>
          </p:cNvPr>
          <p:cNvSpPr txBox="1">
            <a:spLocks noGrp="1"/>
          </p:cNvSpPr>
          <p:nvPr>
            <p:ph sz="quarter" idx="14"/>
          </p:nvPr>
        </p:nvSpPr>
        <p:spPr>
          <a:xfrm>
            <a:off x="476250" y="1919883"/>
            <a:ext cx="11247460" cy="4286250"/>
          </a:xfrm>
          <a:prstGeom prst="rect">
            <a:avLst/>
          </a:prstGeom>
          <a:solidFill>
            <a:schemeClr val="bg2">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180000" rIns="180000" bIns="0" numCol="1" spcCol="0" rtlCol="0" fromWordArt="0" anchor="t" anchorCtr="0" forceAA="0" compatLnSpc="1">
            <a:prstTxWarp prst="textNoShape">
              <a:avLst/>
            </a:prstTxWarp>
            <a:noAutofit/>
          </a:bodyPr>
          <a:lstStyle>
            <a:defPPr>
              <a:defRPr lang="da-DK"/>
            </a:defPPr>
            <a:lvl1pPr marR="0" indent="-457200" algn="ctr" defTabSz="584200" fontAlgn="auto" latinLnBrk="1" hangingPunct="0">
              <a:lnSpc>
                <a:spcPct val="100000"/>
              </a:lnSpc>
              <a:spcBef>
                <a:spcPts val="1000"/>
              </a:spcBef>
              <a:spcAft>
                <a:spcPts val="0"/>
              </a:spcAft>
              <a:buClrTx/>
              <a:buSzPct val="100000"/>
              <a:buFontTx/>
              <a:buNone/>
              <a:tabLst/>
              <a:defRPr kumimoji="0" sz="2700" b="0" i="0" u="none" strike="noStrike" cap="none" spc="0" normalizeH="0" baseline="0">
                <a:solidFill>
                  <a:srgbClr val="FFFFFF"/>
                </a:solidFill>
                <a:uFillTx/>
                <a:latin typeface="Arial" panose="020B0604020202020204" pitchFamily="34" charset="0"/>
                <a:ea typeface="Palatino"/>
                <a:cs typeface="Arial" panose="020B0604020202020204" pitchFamily="34" charset="0"/>
              </a:defRPr>
            </a:lvl1pPr>
            <a:lvl2pPr marL="241200" lvl="1" indent="-241200" algn="ctr">
              <a:spcBef>
                <a:spcPts val="1000"/>
              </a:spcBef>
              <a:buSzPct val="100000"/>
              <a:buFont typeface="Arial" panose="020B0604020202020204" pitchFamily="34" charset="0"/>
              <a:buChar char="•"/>
              <a:defRPr sz="2700">
                <a:solidFill>
                  <a:srgbClr val="FFFFFF"/>
                </a:solidFill>
                <a:latin typeface="Arial" panose="020B0604020202020204" pitchFamily="34" charset="0"/>
                <a:cs typeface="Arial" panose="020B0604020202020204" pitchFamily="34" charset="0"/>
              </a:defRPr>
            </a:lvl2pPr>
            <a:lvl3pPr marL="482400" lvl="2"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3pPr>
            <a:lvl4pPr marL="723600" lvl="3" indent="-24120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4pPr>
            <a:lvl5pPr marL="1202301" lvl="4" indent="-240460" algn="ctr">
              <a:spcBef>
                <a:spcPts val="1000"/>
              </a:spcBef>
              <a:buSzPct val="100000"/>
              <a:buChar char="•"/>
              <a:defRPr sz="2700">
                <a:solidFill>
                  <a:srgbClr val="FFFFFF"/>
                </a:solidFill>
                <a:latin typeface="Arial" panose="020B0604020202020204" pitchFamily="34" charset="0"/>
                <a:cs typeface="Arial" panose="020B0604020202020204" pitchFamily="34" charset="0"/>
              </a:defRPr>
            </a:lvl5pPr>
            <a:lvl6pPr marL="1945610" lvl="5" indent="-293676" algn="ctr">
              <a:spcBef>
                <a:spcPts val="1687"/>
              </a:spcBef>
              <a:buSzPct val="100000"/>
              <a:buChar char="•"/>
              <a:defRPr sz="2700">
                <a:solidFill>
                  <a:srgbClr val="FFFFFF"/>
                </a:solidFill>
                <a:latin typeface="Arial" panose="020B0604020202020204" pitchFamily="34" charset="0"/>
              </a:defRPr>
            </a:lvl6pPr>
            <a:lvl7pPr marL="2275997" lvl="6" indent="-293676" algn="ctr">
              <a:spcBef>
                <a:spcPts val="1687"/>
              </a:spcBef>
              <a:buSzPct val="100000"/>
              <a:buChar char="•"/>
              <a:defRPr sz="2700">
                <a:solidFill>
                  <a:srgbClr val="FFFFFF"/>
                </a:solidFill>
                <a:latin typeface="Arial" panose="020B0604020202020204" pitchFamily="34" charset="0"/>
              </a:defRPr>
            </a:lvl7pPr>
            <a:lvl8pPr marL="2606383" lvl="7" indent="-293676" algn="ctr">
              <a:spcBef>
                <a:spcPts val="1687"/>
              </a:spcBef>
              <a:buSzPct val="100000"/>
              <a:buChar char="•"/>
              <a:defRPr sz="2700">
                <a:solidFill>
                  <a:srgbClr val="FFFFFF"/>
                </a:solidFill>
                <a:latin typeface="Arial" panose="020B0604020202020204" pitchFamily="34" charset="0"/>
              </a:defRPr>
            </a:lvl8pPr>
            <a:lvl9pPr marL="2936770" lvl="8" indent="-293676" algn="ctr">
              <a:spcBef>
                <a:spcPts val="1687"/>
              </a:spcBef>
              <a:buSzPct val="100000"/>
              <a:buChar char="•"/>
              <a:defRPr sz="2700">
                <a:solidFill>
                  <a:srgbClr val="FFFFFF"/>
                </a:solidFill>
                <a:latin typeface="Arial" panose="020B0604020202020204" pitchFamily="34" charset="0"/>
              </a:defRPr>
            </a:lvl9pPr>
          </a:lstStyle>
          <a:p>
            <a:pPr marL="179388" lvl="2" indent="0" algn="l">
              <a:spcBef>
                <a:spcPts val="0"/>
              </a:spcBef>
              <a:spcAft>
                <a:spcPts val="300"/>
              </a:spcAft>
              <a:buNone/>
            </a:pPr>
            <a:endParaRPr lang="da-DK" sz="2400" b="1">
              <a:solidFill>
                <a:schemeClr val="tx1"/>
              </a:solidFill>
              <a:latin typeface="+mj-lt"/>
              <a:sym typeface="Palatino"/>
            </a:endParaRPr>
          </a:p>
          <a:p>
            <a:pPr marL="522288" lvl="2" indent="-342900" algn="l">
              <a:spcBef>
                <a:spcPts val="0"/>
              </a:spcBef>
              <a:spcAft>
                <a:spcPts val="300"/>
              </a:spcAft>
            </a:pPr>
            <a:r>
              <a:rPr lang="da-DK" sz="2400">
                <a:solidFill>
                  <a:schemeClr val="tx1"/>
                </a:solidFill>
                <a:latin typeface="+mj-lt"/>
                <a:sym typeface="Palatino"/>
              </a:rPr>
              <a:t>Vi gennemfører Fremtidsstudie 2026</a:t>
            </a:r>
            <a:br>
              <a:rPr lang="da-DK" sz="2400">
                <a:solidFill>
                  <a:schemeClr val="tx1"/>
                </a:solidFill>
                <a:latin typeface="+mj-lt"/>
                <a:sym typeface="Palatino"/>
              </a:rPr>
            </a:br>
            <a:r>
              <a:rPr lang="da-DK" sz="2400">
                <a:solidFill>
                  <a:schemeClr val="tx1"/>
                </a:solidFill>
                <a:latin typeface="+mj-lt"/>
                <a:sym typeface="Palatino"/>
              </a:rPr>
              <a:t>i efteråret – resultater primo 2027</a:t>
            </a:r>
          </a:p>
          <a:p>
            <a:pPr marL="522288" lvl="2" indent="-342900" algn="l">
              <a:spcBef>
                <a:spcPts val="0"/>
              </a:spcBef>
              <a:spcAft>
                <a:spcPts val="300"/>
              </a:spcAft>
            </a:pPr>
            <a:r>
              <a:rPr lang="da-DK" sz="2400">
                <a:solidFill>
                  <a:schemeClr val="tx1"/>
                </a:solidFill>
                <a:latin typeface="+mj-lt"/>
                <a:sym typeface="Palatino"/>
              </a:rPr>
              <a:t>Fremtidsstudiet skal bruges til </a:t>
            </a:r>
            <a:br>
              <a:rPr lang="da-DK" sz="2400">
                <a:solidFill>
                  <a:schemeClr val="tx1"/>
                </a:solidFill>
                <a:latin typeface="+mj-lt"/>
                <a:sym typeface="Palatino"/>
              </a:rPr>
            </a:br>
            <a:r>
              <a:rPr lang="da-DK" sz="2400">
                <a:solidFill>
                  <a:schemeClr val="tx1"/>
                </a:solidFill>
                <a:latin typeface="+mj-lt"/>
                <a:sym typeface="Palatino"/>
              </a:rPr>
              <a:t>at drøfte strategi frem mod 2032 </a:t>
            </a:r>
          </a:p>
          <a:p>
            <a:pPr marL="522288" lvl="2" indent="-342900" algn="l">
              <a:spcBef>
                <a:spcPts val="0"/>
              </a:spcBef>
              <a:spcAft>
                <a:spcPts val="300"/>
              </a:spcAft>
            </a:pPr>
            <a:r>
              <a:rPr lang="da-DK" sz="2400">
                <a:solidFill>
                  <a:schemeClr val="tx1"/>
                </a:solidFill>
                <a:latin typeface="+mj-lt"/>
                <a:sym typeface="Palatino"/>
              </a:rPr>
              <a:t>Fortsat bruge campus som </a:t>
            </a:r>
            <a:br>
              <a:rPr lang="da-DK" sz="2400">
                <a:solidFill>
                  <a:schemeClr val="tx1"/>
                </a:solidFill>
                <a:latin typeface="+mj-lt"/>
                <a:sym typeface="Palatino"/>
              </a:rPr>
            </a:br>
            <a:r>
              <a:rPr lang="da-DK" sz="2400">
                <a:solidFill>
                  <a:schemeClr val="tx1"/>
                </a:solidFill>
                <a:latin typeface="+mj-lt"/>
                <a:sym typeface="Palatino"/>
              </a:rPr>
              <a:t>konferencested</a:t>
            </a:r>
          </a:p>
        </p:txBody>
      </p:sp>
      <p:pic>
        <p:nvPicPr>
          <p:cNvPr id="7" name="Picture 15">
            <a:extLst>
              <a:ext uri="{FF2B5EF4-FFF2-40B4-BE49-F238E27FC236}">
                <a16:creationId xmlns:a16="http://schemas.microsoft.com/office/drawing/2014/main" id="{9EB78922-20E7-4BD1-BC31-B64E803C1C7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817852" y="89769"/>
            <a:ext cx="1123050" cy="1124196"/>
          </a:xfrm>
          <a:prstGeom prst="rect">
            <a:avLst/>
          </a:prstGeom>
        </p:spPr>
      </p:pic>
    </p:spTree>
    <p:extLst>
      <p:ext uri="{BB962C8B-B14F-4D97-AF65-F5344CB8AC3E}">
        <p14:creationId xmlns:p14="http://schemas.microsoft.com/office/powerpoint/2010/main" val="332284427"/>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FF981D4-CBC3-070C-DF3A-B3343D4730A0}"/>
              </a:ext>
            </a:extLst>
          </p:cNvPr>
          <p:cNvSpPr>
            <a:spLocks noGrp="1"/>
          </p:cNvSpPr>
          <p:nvPr>
            <p:ph type="title"/>
          </p:nvPr>
        </p:nvSpPr>
        <p:spPr/>
        <p:txBody>
          <a:bodyPr>
            <a:normAutofit/>
          </a:bodyPr>
          <a:lstStyle/>
          <a:p>
            <a:r>
              <a:rPr lang="da-DK"/>
              <a:t>Hård prioritering for 2026 trods medlemsfremgang</a:t>
            </a:r>
          </a:p>
        </p:txBody>
      </p:sp>
      <p:sp>
        <p:nvSpPr>
          <p:cNvPr id="3" name="Pladsholder til indhold 2">
            <a:extLst>
              <a:ext uri="{FF2B5EF4-FFF2-40B4-BE49-F238E27FC236}">
                <a16:creationId xmlns:a16="http://schemas.microsoft.com/office/drawing/2014/main" id="{283D5632-D50A-5596-E26E-D4A85729DAF3}"/>
              </a:ext>
            </a:extLst>
          </p:cNvPr>
          <p:cNvSpPr>
            <a:spLocks noGrp="1"/>
          </p:cNvSpPr>
          <p:nvPr>
            <p:ph sz="half" idx="4294967295"/>
          </p:nvPr>
        </p:nvSpPr>
        <p:spPr>
          <a:xfrm>
            <a:off x="736619" y="1247116"/>
            <a:ext cx="10421938" cy="5094307"/>
          </a:xfrm>
        </p:spPr>
        <p:txBody>
          <a:bodyPr/>
          <a:lstStyle/>
          <a:p>
            <a:r>
              <a:rPr lang="da-DK" sz="1800"/>
              <a:t>Ældre Sagen har medlemsfremgang og vellykkede lotterier – alligevel skal der prioriteres, for mange udgifter og behov trænger sig på.</a:t>
            </a:r>
          </a:p>
          <a:p>
            <a:endParaRPr lang="da-DK" sz="1800"/>
          </a:p>
          <a:p>
            <a:pPr marL="285750" indent="-285750">
              <a:buFont typeface="Arial" panose="020B0604020202020204" pitchFamily="34" charset="0"/>
              <a:buChar char="•"/>
            </a:pPr>
            <a:r>
              <a:rPr lang="da-DK" sz="1800"/>
              <a:t>PostNord stopper udbringning af breve;</a:t>
            </a:r>
            <a:br>
              <a:rPr lang="da-DK" sz="1800"/>
            </a:br>
            <a:r>
              <a:rPr lang="da-DK" sz="1800"/>
              <a:t>besværliggør/fordyrer udsendelse af bl.a. medlemsblad</a:t>
            </a:r>
          </a:p>
          <a:p>
            <a:pPr marL="285750" indent="-285750">
              <a:buFont typeface="Arial" panose="020B0604020202020204" pitchFamily="34" charset="0"/>
              <a:buChar char="•"/>
            </a:pPr>
            <a:r>
              <a:rPr lang="da-DK" sz="1800" err="1"/>
              <a:t>Delegeretforsamling</a:t>
            </a:r>
            <a:r>
              <a:rPr lang="da-DK" sz="1800"/>
              <a:t> forventer med rette initiativer, der styrker Ældre Sagens kommunikation med medlemmerne, lokalt og på landsplan (kontaktanalyse)</a:t>
            </a:r>
          </a:p>
          <a:p>
            <a:pPr marL="285750" indent="-285750">
              <a:buFont typeface="Arial" panose="020B0604020202020204" pitchFamily="34" charset="0"/>
              <a:buChar char="•"/>
            </a:pPr>
            <a:r>
              <a:rPr lang="da-DK" sz="1800"/>
              <a:t>Sundhedsreform og ny struktur i sundhedsvæsenet nødvendiggør markant styrkelse af Ældre Sagens  sundhedspolitiske indsats </a:t>
            </a:r>
            <a:br>
              <a:rPr lang="da-DK" sz="1800"/>
            </a:br>
            <a:r>
              <a:rPr lang="da-DK" sz="1800"/>
              <a:t>– i de nye sundhedsråd og i kommunerne</a:t>
            </a:r>
          </a:p>
          <a:p>
            <a:pPr marL="285750" indent="-285750">
              <a:buFont typeface="Arial" panose="020B0604020202020204" pitchFamily="34" charset="0"/>
              <a:buChar char="•"/>
            </a:pPr>
            <a:r>
              <a:rPr lang="da-DK" sz="1800"/>
              <a:t>Behov for at gøre den digitale del af medlemskabet endnu mere brugervenligt</a:t>
            </a:r>
          </a:p>
          <a:p>
            <a:pPr marL="285750" indent="-285750">
              <a:buFont typeface="Arial" panose="020B0604020202020204" pitchFamily="34" charset="0"/>
              <a:buChar char="•"/>
            </a:pPr>
            <a:r>
              <a:rPr lang="da-DK" sz="1800"/>
              <a:t>Folketingsvalg senest i efteråret 2026</a:t>
            </a:r>
            <a:br>
              <a:rPr lang="da-DK" sz="1800"/>
            </a:br>
            <a:r>
              <a:rPr lang="da-DK" sz="1800"/>
              <a:t>- medlemmerne forventer stærk indsats fra os</a:t>
            </a:r>
          </a:p>
          <a:p>
            <a:pPr marL="285750" indent="-285750">
              <a:buFont typeface="Arial" panose="020B0604020202020204" pitchFamily="34" charset="0"/>
              <a:buChar char="•"/>
            </a:pPr>
            <a:endParaRPr lang="da-DK" sz="1700"/>
          </a:p>
        </p:txBody>
      </p:sp>
    </p:spTree>
    <p:extLst>
      <p:ext uri="{BB962C8B-B14F-4D97-AF65-F5344CB8AC3E}">
        <p14:creationId xmlns:p14="http://schemas.microsoft.com/office/powerpoint/2010/main" val="1195914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3EA4C72-2590-5ED7-1C31-DFA2FC7C370A}"/>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0362C2FE-0711-4139-0D07-1289AA3F7C56}"/>
              </a:ext>
            </a:extLst>
          </p:cNvPr>
          <p:cNvSpPr>
            <a:spLocks noGrp="1"/>
          </p:cNvSpPr>
          <p:nvPr>
            <p:ph type="title"/>
          </p:nvPr>
        </p:nvSpPr>
        <p:spPr/>
        <p:txBody>
          <a:bodyPr/>
          <a:lstStyle/>
          <a:p>
            <a:r>
              <a:rPr lang="da-DK"/>
              <a:t>Kampen for flere plejehjemspladser</a:t>
            </a:r>
          </a:p>
        </p:txBody>
      </p:sp>
      <p:sp>
        <p:nvSpPr>
          <p:cNvPr id="6" name="Pladsholder til slidenummer 5">
            <a:extLst>
              <a:ext uri="{FF2B5EF4-FFF2-40B4-BE49-F238E27FC236}">
                <a16:creationId xmlns:a16="http://schemas.microsoft.com/office/drawing/2014/main" id="{645D5379-42EB-D4DE-B72E-7BCCD9982FA8}"/>
              </a:ext>
            </a:extLst>
          </p:cNvPr>
          <p:cNvSpPr>
            <a:spLocks noGrp="1"/>
          </p:cNvSpPr>
          <p:nvPr>
            <p:ph type="sldNum" sz="quarter" idx="15"/>
          </p:nvPr>
        </p:nvSpPr>
        <p:spPr/>
        <p:txBody>
          <a:bodyPr/>
          <a:lstStyle/>
          <a:p>
            <a:fld id="{53638CB2-EA0C-44E4-A91A-4D7146E346C5}" type="slidenum">
              <a:rPr lang="da-DK" smtClean="0"/>
              <a:pPr/>
              <a:t>4</a:t>
            </a:fld>
            <a:endParaRPr lang="da-DK"/>
          </a:p>
        </p:txBody>
      </p:sp>
      <p:pic>
        <p:nvPicPr>
          <p:cNvPr id="3" name="Billede 2" descr="Et billede, der indeholder tekst, kort&#10;&#10;AI-genereret indhold kan være ukorrekt.">
            <a:extLst>
              <a:ext uri="{FF2B5EF4-FFF2-40B4-BE49-F238E27FC236}">
                <a16:creationId xmlns:a16="http://schemas.microsoft.com/office/drawing/2014/main" id="{1A979297-CFE0-3BE4-F7B3-A36428FF3F12}"/>
              </a:ext>
            </a:extLst>
          </p:cNvPr>
          <p:cNvPicPr>
            <a:picLocks noChangeAspect="1"/>
          </p:cNvPicPr>
          <p:nvPr/>
        </p:nvPicPr>
        <p:blipFill>
          <a:blip r:embed="rId3"/>
          <a:srcRect r="862"/>
          <a:stretch>
            <a:fillRect/>
          </a:stretch>
        </p:blipFill>
        <p:spPr>
          <a:xfrm>
            <a:off x="6781127" y="1555255"/>
            <a:ext cx="5079827" cy="3886399"/>
          </a:xfrm>
          <a:prstGeom prst="rect">
            <a:avLst/>
          </a:prstGeom>
          <a:noFill/>
        </p:spPr>
      </p:pic>
      <p:pic>
        <p:nvPicPr>
          <p:cNvPr id="8" name="Billede 7">
            <a:extLst>
              <a:ext uri="{FF2B5EF4-FFF2-40B4-BE49-F238E27FC236}">
                <a16:creationId xmlns:a16="http://schemas.microsoft.com/office/drawing/2014/main" id="{08BF9257-F679-075F-B6F8-4817DC64F70A}"/>
              </a:ext>
            </a:extLst>
          </p:cNvPr>
          <p:cNvPicPr>
            <a:picLocks noChangeAspect="1"/>
          </p:cNvPicPr>
          <p:nvPr/>
        </p:nvPicPr>
        <p:blipFill>
          <a:blip r:embed="rId4"/>
          <a:stretch>
            <a:fillRect/>
          </a:stretch>
        </p:blipFill>
        <p:spPr>
          <a:xfrm>
            <a:off x="178646" y="1555255"/>
            <a:ext cx="6458282" cy="3886400"/>
          </a:xfrm>
          <a:prstGeom prst="rect">
            <a:avLst/>
          </a:prstGeom>
        </p:spPr>
      </p:pic>
    </p:spTree>
    <p:extLst>
      <p:ext uri="{BB962C8B-B14F-4D97-AF65-F5344CB8AC3E}">
        <p14:creationId xmlns:p14="http://schemas.microsoft.com/office/powerpoint/2010/main" val="276478609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8BC3A8B-AE76-6449-CB4A-90CA969DB84A}"/>
              </a:ext>
            </a:extLst>
          </p:cNvPr>
          <p:cNvSpPr>
            <a:spLocks noGrp="1"/>
          </p:cNvSpPr>
          <p:nvPr>
            <p:ph type="title"/>
          </p:nvPr>
        </p:nvSpPr>
        <p:spPr/>
        <p:txBody>
          <a:bodyPr/>
          <a:lstStyle/>
          <a:p>
            <a:r>
              <a:rPr lang="da-DK"/>
              <a:t>Kampen for flere plejehjemspladser</a:t>
            </a:r>
          </a:p>
        </p:txBody>
      </p:sp>
      <p:sp>
        <p:nvSpPr>
          <p:cNvPr id="6" name="Pladsholder til slidenummer 5">
            <a:extLst>
              <a:ext uri="{FF2B5EF4-FFF2-40B4-BE49-F238E27FC236}">
                <a16:creationId xmlns:a16="http://schemas.microsoft.com/office/drawing/2014/main" id="{148C2AC0-7175-5BF7-687B-D2C7BFE5AE5F}"/>
              </a:ext>
            </a:extLst>
          </p:cNvPr>
          <p:cNvSpPr>
            <a:spLocks noGrp="1"/>
          </p:cNvSpPr>
          <p:nvPr>
            <p:ph type="sldNum" sz="quarter" idx="15"/>
          </p:nvPr>
        </p:nvSpPr>
        <p:spPr/>
        <p:txBody>
          <a:bodyPr/>
          <a:lstStyle/>
          <a:p>
            <a:fld id="{53638CB2-EA0C-44E4-A91A-4D7146E346C5}" type="slidenum">
              <a:rPr lang="da-DK" smtClean="0"/>
              <a:pPr/>
              <a:t>5</a:t>
            </a:fld>
            <a:endParaRPr lang="da-DK"/>
          </a:p>
        </p:txBody>
      </p:sp>
      <p:pic>
        <p:nvPicPr>
          <p:cNvPr id="16" name="Billede 15" descr="Et billede, der indeholder tekst, avis, Nyheder&#10;&#10;AI-genereret indhold kan være ukorrekt.">
            <a:extLst>
              <a:ext uri="{FF2B5EF4-FFF2-40B4-BE49-F238E27FC236}">
                <a16:creationId xmlns:a16="http://schemas.microsoft.com/office/drawing/2014/main" id="{A115E2E5-F794-CF77-DD29-9EA4C5D01601}"/>
              </a:ext>
            </a:extLst>
          </p:cNvPr>
          <p:cNvPicPr>
            <a:picLocks noChangeAspect="1"/>
          </p:cNvPicPr>
          <p:nvPr/>
        </p:nvPicPr>
        <p:blipFill>
          <a:blip r:embed="rId3"/>
          <a:srcRect r="55848" b="40483"/>
          <a:stretch>
            <a:fillRect/>
          </a:stretch>
        </p:blipFill>
        <p:spPr>
          <a:xfrm>
            <a:off x="250485" y="1385702"/>
            <a:ext cx="2771570" cy="2673154"/>
          </a:xfrm>
          <a:prstGeom prst="rect">
            <a:avLst/>
          </a:prstGeom>
        </p:spPr>
      </p:pic>
      <p:sp>
        <p:nvSpPr>
          <p:cNvPr id="25" name="Tekstfelt 24">
            <a:extLst>
              <a:ext uri="{FF2B5EF4-FFF2-40B4-BE49-F238E27FC236}">
                <a16:creationId xmlns:a16="http://schemas.microsoft.com/office/drawing/2014/main" id="{D71443BB-C078-6872-C33D-72E2154713B6}"/>
              </a:ext>
            </a:extLst>
          </p:cNvPr>
          <p:cNvSpPr txBox="1"/>
          <p:nvPr/>
        </p:nvSpPr>
        <p:spPr>
          <a:xfrm>
            <a:off x="414337" y="1145654"/>
            <a:ext cx="3767138" cy="171450"/>
          </a:xfrm>
          <a:prstGeom prst="rect">
            <a:avLst/>
          </a:prstGeom>
          <a:noFill/>
        </p:spPr>
        <p:txBody>
          <a:bodyPr wrap="square" lIns="0" tIns="0" rIns="0" bIns="0" rtlCol="0">
            <a:noAutofit/>
          </a:bodyPr>
          <a:lstStyle/>
          <a:p>
            <a:pPr algn="l"/>
            <a:r>
              <a:rPr lang="da-DK" sz="1600">
                <a:solidFill>
                  <a:schemeClr val="tx2"/>
                </a:solidFill>
              </a:rPr>
              <a:t>Forside, Kristeligt Dagblad, april 2025</a:t>
            </a:r>
          </a:p>
        </p:txBody>
      </p:sp>
      <p:sp>
        <p:nvSpPr>
          <p:cNvPr id="28" name="Tekstfelt 27">
            <a:extLst>
              <a:ext uri="{FF2B5EF4-FFF2-40B4-BE49-F238E27FC236}">
                <a16:creationId xmlns:a16="http://schemas.microsoft.com/office/drawing/2014/main" id="{DF348B8D-3A89-1324-87B0-D6B1AE788491}"/>
              </a:ext>
            </a:extLst>
          </p:cNvPr>
          <p:cNvSpPr txBox="1"/>
          <p:nvPr/>
        </p:nvSpPr>
        <p:spPr>
          <a:xfrm>
            <a:off x="6997600" y="1116546"/>
            <a:ext cx="3767138" cy="171450"/>
          </a:xfrm>
          <a:prstGeom prst="rect">
            <a:avLst/>
          </a:prstGeom>
          <a:noFill/>
        </p:spPr>
        <p:txBody>
          <a:bodyPr wrap="square" lIns="0" tIns="0" rIns="0" bIns="0" rtlCol="0">
            <a:noAutofit/>
          </a:bodyPr>
          <a:lstStyle/>
          <a:p>
            <a:pPr algn="l"/>
            <a:r>
              <a:rPr lang="da-DK" sz="1600">
                <a:solidFill>
                  <a:schemeClr val="tx2"/>
                </a:solidFill>
              </a:rPr>
              <a:t>Avisen Danmark, juni 2025</a:t>
            </a:r>
          </a:p>
        </p:txBody>
      </p:sp>
      <p:pic>
        <p:nvPicPr>
          <p:cNvPr id="32" name="Billede 31">
            <a:extLst>
              <a:ext uri="{FF2B5EF4-FFF2-40B4-BE49-F238E27FC236}">
                <a16:creationId xmlns:a16="http://schemas.microsoft.com/office/drawing/2014/main" id="{9C47860F-1B92-E18C-D79B-A0255586010C}"/>
              </a:ext>
            </a:extLst>
          </p:cNvPr>
          <p:cNvPicPr>
            <a:picLocks noChangeAspect="1"/>
          </p:cNvPicPr>
          <p:nvPr/>
        </p:nvPicPr>
        <p:blipFill>
          <a:blip r:embed="rId4"/>
          <a:stretch>
            <a:fillRect/>
          </a:stretch>
        </p:blipFill>
        <p:spPr>
          <a:xfrm>
            <a:off x="3139663" y="3506672"/>
            <a:ext cx="3637727" cy="2678828"/>
          </a:xfrm>
          <a:prstGeom prst="rect">
            <a:avLst/>
          </a:prstGeom>
        </p:spPr>
      </p:pic>
      <p:sp>
        <p:nvSpPr>
          <p:cNvPr id="33" name="Tekstfelt 32">
            <a:extLst>
              <a:ext uri="{FF2B5EF4-FFF2-40B4-BE49-F238E27FC236}">
                <a16:creationId xmlns:a16="http://schemas.microsoft.com/office/drawing/2014/main" id="{3CC1C495-5586-641E-5FD6-698177D72307}"/>
              </a:ext>
            </a:extLst>
          </p:cNvPr>
          <p:cNvSpPr txBox="1"/>
          <p:nvPr/>
        </p:nvSpPr>
        <p:spPr>
          <a:xfrm>
            <a:off x="3308099" y="3220186"/>
            <a:ext cx="3767138" cy="171450"/>
          </a:xfrm>
          <a:prstGeom prst="rect">
            <a:avLst/>
          </a:prstGeom>
          <a:noFill/>
        </p:spPr>
        <p:txBody>
          <a:bodyPr wrap="square" lIns="0" tIns="0" rIns="0" bIns="0" rtlCol="0">
            <a:noAutofit/>
          </a:bodyPr>
          <a:lstStyle/>
          <a:p>
            <a:pPr algn="l"/>
            <a:r>
              <a:rPr lang="da-DK" sz="1600">
                <a:solidFill>
                  <a:schemeClr val="tx2"/>
                </a:solidFill>
              </a:rPr>
              <a:t>JydskeVestkysten, april 2025</a:t>
            </a:r>
          </a:p>
        </p:txBody>
      </p:sp>
      <p:sp>
        <p:nvSpPr>
          <p:cNvPr id="36" name="AutoShape 8" descr="Billedforhåndsvisning">
            <a:extLst>
              <a:ext uri="{FF2B5EF4-FFF2-40B4-BE49-F238E27FC236}">
                <a16:creationId xmlns:a16="http://schemas.microsoft.com/office/drawing/2014/main" id="{AD005489-A3A9-D035-E6A8-E44FB4D3B43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38" name="Billede 37">
            <a:extLst>
              <a:ext uri="{FF2B5EF4-FFF2-40B4-BE49-F238E27FC236}">
                <a16:creationId xmlns:a16="http://schemas.microsoft.com/office/drawing/2014/main" id="{4B513DC5-FFB3-24AF-0F82-0238FA99DAAB}"/>
              </a:ext>
            </a:extLst>
          </p:cNvPr>
          <p:cNvPicPr>
            <a:picLocks noChangeAspect="1"/>
          </p:cNvPicPr>
          <p:nvPr/>
        </p:nvPicPr>
        <p:blipFill>
          <a:blip r:embed="rId5"/>
          <a:srcRect l="1342" t="30602"/>
          <a:stretch>
            <a:fillRect/>
          </a:stretch>
        </p:blipFill>
        <p:spPr>
          <a:xfrm>
            <a:off x="6777390" y="1343740"/>
            <a:ext cx="3778340" cy="3288199"/>
          </a:xfrm>
          <a:prstGeom prst="rect">
            <a:avLst/>
          </a:prstGeom>
        </p:spPr>
      </p:pic>
      <p:pic>
        <p:nvPicPr>
          <p:cNvPr id="20" name="Billede 19">
            <a:extLst>
              <a:ext uri="{FF2B5EF4-FFF2-40B4-BE49-F238E27FC236}">
                <a16:creationId xmlns:a16="http://schemas.microsoft.com/office/drawing/2014/main" id="{156D0E8A-7C95-D284-185D-45434AEE4806}"/>
              </a:ext>
            </a:extLst>
          </p:cNvPr>
          <p:cNvPicPr>
            <a:picLocks noChangeAspect="1"/>
          </p:cNvPicPr>
          <p:nvPr/>
        </p:nvPicPr>
        <p:blipFill>
          <a:blip r:embed="rId6"/>
          <a:stretch>
            <a:fillRect/>
          </a:stretch>
        </p:blipFill>
        <p:spPr>
          <a:xfrm>
            <a:off x="8795971" y="4591188"/>
            <a:ext cx="3104714" cy="1594312"/>
          </a:xfrm>
          <a:prstGeom prst="rect">
            <a:avLst/>
          </a:prstGeom>
        </p:spPr>
      </p:pic>
      <p:sp>
        <p:nvSpPr>
          <p:cNvPr id="39" name="Tekstfelt 38">
            <a:extLst>
              <a:ext uri="{FF2B5EF4-FFF2-40B4-BE49-F238E27FC236}">
                <a16:creationId xmlns:a16="http://schemas.microsoft.com/office/drawing/2014/main" id="{E8FD34E7-AC9B-E045-A42A-70CD8FBFA181}"/>
              </a:ext>
            </a:extLst>
          </p:cNvPr>
          <p:cNvSpPr txBox="1"/>
          <p:nvPr/>
        </p:nvSpPr>
        <p:spPr>
          <a:xfrm>
            <a:off x="8008936" y="6310494"/>
            <a:ext cx="3767138" cy="171450"/>
          </a:xfrm>
          <a:prstGeom prst="rect">
            <a:avLst/>
          </a:prstGeom>
          <a:noFill/>
        </p:spPr>
        <p:txBody>
          <a:bodyPr wrap="square" lIns="0" tIns="0" rIns="0" bIns="0" rtlCol="0">
            <a:noAutofit/>
          </a:bodyPr>
          <a:lstStyle/>
          <a:p>
            <a:pPr algn="l"/>
            <a:r>
              <a:rPr lang="da-DK" sz="1600">
                <a:solidFill>
                  <a:schemeClr val="tx2"/>
                </a:solidFill>
              </a:rPr>
              <a:t>Seniormonitor, juni 2025</a:t>
            </a:r>
          </a:p>
        </p:txBody>
      </p:sp>
    </p:spTree>
    <p:extLst>
      <p:ext uri="{BB962C8B-B14F-4D97-AF65-F5344CB8AC3E}">
        <p14:creationId xmlns:p14="http://schemas.microsoft.com/office/powerpoint/2010/main" val="114671728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F7C71C-3CC4-43FC-5BC7-0136283B5896}"/>
              </a:ext>
            </a:extLst>
          </p:cNvPr>
          <p:cNvSpPr>
            <a:spLocks noGrp="1"/>
          </p:cNvSpPr>
          <p:nvPr>
            <p:ph type="title"/>
          </p:nvPr>
        </p:nvSpPr>
        <p:spPr/>
        <p:txBody>
          <a:bodyPr/>
          <a:lstStyle/>
          <a:p>
            <a:r>
              <a:rPr lang="da-DK" sz="3200"/>
              <a:t>3 store Ældre Sagen-undersøgelser som afsæt til KV25</a:t>
            </a:r>
          </a:p>
        </p:txBody>
      </p:sp>
      <p:sp>
        <p:nvSpPr>
          <p:cNvPr id="3" name="Pladsholder til dato 2">
            <a:extLst>
              <a:ext uri="{FF2B5EF4-FFF2-40B4-BE49-F238E27FC236}">
                <a16:creationId xmlns:a16="http://schemas.microsoft.com/office/drawing/2014/main" id="{BC2EE694-C362-BAD8-CD31-984AE3D9538F}"/>
              </a:ext>
            </a:extLst>
          </p:cNvPr>
          <p:cNvSpPr>
            <a:spLocks noGrp="1"/>
          </p:cNvSpPr>
          <p:nvPr>
            <p:ph type="dt" sz="half" idx="10"/>
          </p:nvPr>
        </p:nvSpPr>
        <p:spPr/>
        <p:txBody>
          <a:bodyPr/>
          <a:lstStyle/>
          <a:p>
            <a:fld id="{F3EF4D5A-4651-4B9C-924F-A1DBD1BE844D}" type="datetime1">
              <a:rPr lang="da-DK" smtClean="0"/>
              <a:t>16-09-2025</a:t>
            </a:fld>
            <a:endParaRPr lang="da-DK"/>
          </a:p>
        </p:txBody>
      </p:sp>
      <p:sp>
        <p:nvSpPr>
          <p:cNvPr id="5" name="Pladsholder til slidenummer 4">
            <a:extLst>
              <a:ext uri="{FF2B5EF4-FFF2-40B4-BE49-F238E27FC236}">
                <a16:creationId xmlns:a16="http://schemas.microsoft.com/office/drawing/2014/main" id="{A437AB34-5172-8DBB-E399-F7EFB532F427}"/>
              </a:ext>
            </a:extLst>
          </p:cNvPr>
          <p:cNvSpPr>
            <a:spLocks noGrp="1"/>
          </p:cNvSpPr>
          <p:nvPr>
            <p:ph type="sldNum" sz="quarter" idx="12"/>
          </p:nvPr>
        </p:nvSpPr>
        <p:spPr/>
        <p:txBody>
          <a:bodyPr/>
          <a:lstStyle/>
          <a:p>
            <a:fld id="{0E8862F4-759C-4937-98C7-CDEB1EE77131}" type="slidenum">
              <a:rPr lang="da-DK" smtClean="0"/>
              <a:pPr/>
              <a:t>6</a:t>
            </a:fld>
            <a:endParaRPr lang="da-DK"/>
          </a:p>
        </p:txBody>
      </p:sp>
      <p:sp>
        <p:nvSpPr>
          <p:cNvPr id="6" name="Pladsholder til indhold 5">
            <a:extLst>
              <a:ext uri="{FF2B5EF4-FFF2-40B4-BE49-F238E27FC236}">
                <a16:creationId xmlns:a16="http://schemas.microsoft.com/office/drawing/2014/main" id="{DA76F63C-27CD-05B8-114C-D5210242C1BB}"/>
              </a:ext>
            </a:extLst>
          </p:cNvPr>
          <p:cNvSpPr>
            <a:spLocks noGrp="1"/>
          </p:cNvSpPr>
          <p:nvPr>
            <p:ph sz="quarter" idx="13"/>
          </p:nvPr>
        </p:nvSpPr>
        <p:spPr>
          <a:xfrm>
            <a:off x="414337" y="1677988"/>
            <a:ext cx="11361737" cy="4479925"/>
          </a:xfrm>
        </p:spPr>
        <p:txBody>
          <a:bodyPr/>
          <a:lstStyle/>
          <a:p>
            <a:r>
              <a:rPr lang="da-DK" sz="3600"/>
              <a:t>1. Svækkede ældre og hjælp i hverdagen</a:t>
            </a:r>
          </a:p>
          <a:p>
            <a:r>
              <a:rPr lang="da-DK" sz="3600"/>
              <a:t>2. Normeringer på plejehjem</a:t>
            </a:r>
          </a:p>
          <a:p>
            <a:r>
              <a:rPr lang="da-DK" sz="3600"/>
              <a:t>3. Hjemmehjælp – brugernes egne oplevelser</a:t>
            </a:r>
          </a:p>
        </p:txBody>
      </p:sp>
      <p:pic>
        <p:nvPicPr>
          <p:cNvPr id="5126" name="Picture 6" descr="Danmarks Statistik">
            <a:extLst>
              <a:ext uri="{FF2B5EF4-FFF2-40B4-BE49-F238E27FC236}">
                <a16:creationId xmlns:a16="http://schemas.microsoft.com/office/drawing/2014/main" id="{84FE8517-FC93-B662-9026-A4FCF8E4FF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362" y="4052888"/>
            <a:ext cx="2971800" cy="154305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VIVE – Det Nationale Forsknings- og Analysecenter for Velfærd | Silkeborg  Bibliotekerne">
            <a:extLst>
              <a:ext uri="{FF2B5EF4-FFF2-40B4-BE49-F238E27FC236}">
                <a16:creationId xmlns:a16="http://schemas.microsoft.com/office/drawing/2014/main" id="{B06B480A-C7A9-965F-B17E-DF75895E5E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755" y="4127335"/>
            <a:ext cx="3390900" cy="1780222"/>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Roskilde Universitet">
            <a:extLst>
              <a:ext uri="{FF2B5EF4-FFF2-40B4-BE49-F238E27FC236}">
                <a16:creationId xmlns:a16="http://schemas.microsoft.com/office/drawing/2014/main" id="{0344FCF9-5050-93A2-FA14-2A076A43DE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7891" y="3777727"/>
            <a:ext cx="2334446" cy="2350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625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04510-DE78-820D-DDC5-DDE5CA784BF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B9E2ACEE-0935-78E5-4E3A-761EA725548C}"/>
              </a:ext>
            </a:extLst>
          </p:cNvPr>
          <p:cNvSpPr>
            <a:spLocks noGrp="1"/>
          </p:cNvSpPr>
          <p:nvPr>
            <p:ph type="title"/>
          </p:nvPr>
        </p:nvSpPr>
        <p:spPr/>
        <p:txBody>
          <a:bodyPr>
            <a:normAutofit fontScale="90000"/>
          </a:bodyPr>
          <a:lstStyle/>
          <a:p>
            <a:r>
              <a:rPr lang="da-DK"/>
              <a:t>Undersøgelse: Normeringer på plejehjem</a:t>
            </a:r>
          </a:p>
        </p:txBody>
      </p:sp>
      <p:sp>
        <p:nvSpPr>
          <p:cNvPr id="6" name="Pladsholder til slidenummer 5">
            <a:extLst>
              <a:ext uri="{FF2B5EF4-FFF2-40B4-BE49-F238E27FC236}">
                <a16:creationId xmlns:a16="http://schemas.microsoft.com/office/drawing/2014/main" id="{D241991A-1938-85D6-F18D-E25E7711C6EE}"/>
              </a:ext>
            </a:extLst>
          </p:cNvPr>
          <p:cNvSpPr>
            <a:spLocks noGrp="1"/>
          </p:cNvSpPr>
          <p:nvPr>
            <p:ph type="sldNum" sz="quarter" idx="15"/>
          </p:nvPr>
        </p:nvSpPr>
        <p:spPr/>
        <p:txBody>
          <a:bodyPr/>
          <a:lstStyle/>
          <a:p>
            <a:fld id="{53638CB2-EA0C-44E4-A91A-4D7146E346C5}" type="slidenum">
              <a:rPr lang="da-DK" smtClean="0"/>
              <a:pPr/>
              <a:t>7</a:t>
            </a:fld>
            <a:endParaRPr lang="da-DK"/>
          </a:p>
        </p:txBody>
      </p:sp>
      <p:pic>
        <p:nvPicPr>
          <p:cNvPr id="4098" name="Picture 2" descr="Et billede, der indeholder tekst, person, drike, negl/søm/nål&#10;&#10;AI-genereret indhold kan være ukorrekt.">
            <a:extLst>
              <a:ext uri="{FF2B5EF4-FFF2-40B4-BE49-F238E27FC236}">
                <a16:creationId xmlns:a16="http://schemas.microsoft.com/office/drawing/2014/main" id="{27A7BF13-5F0B-65D5-49BC-1EF65CAB9C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834" y="1985210"/>
            <a:ext cx="5597371" cy="3996453"/>
          </a:xfrm>
          <a:prstGeom prst="rect">
            <a:avLst/>
          </a:prstGeom>
          <a:noFill/>
          <a:extLst>
            <a:ext uri="{909E8E84-426E-40DD-AFC4-6F175D3DCCD1}">
              <a14:hiddenFill xmlns:a14="http://schemas.microsoft.com/office/drawing/2010/main">
                <a:solidFill>
                  <a:srgbClr val="FFFFFF"/>
                </a:solidFill>
              </a14:hiddenFill>
            </a:ext>
          </a:extLst>
        </p:spPr>
      </p:pic>
      <p:pic>
        <p:nvPicPr>
          <p:cNvPr id="14" name="Billede 13">
            <a:extLst>
              <a:ext uri="{FF2B5EF4-FFF2-40B4-BE49-F238E27FC236}">
                <a16:creationId xmlns:a16="http://schemas.microsoft.com/office/drawing/2014/main" id="{0E0B783C-F8BB-3030-3D2C-F394C97F1AC6}"/>
              </a:ext>
            </a:extLst>
          </p:cNvPr>
          <p:cNvPicPr>
            <a:picLocks noChangeAspect="1"/>
          </p:cNvPicPr>
          <p:nvPr/>
        </p:nvPicPr>
        <p:blipFill>
          <a:blip r:embed="rId4"/>
          <a:stretch>
            <a:fillRect/>
          </a:stretch>
        </p:blipFill>
        <p:spPr>
          <a:xfrm>
            <a:off x="6384758" y="1838862"/>
            <a:ext cx="5117577" cy="4142801"/>
          </a:xfrm>
          <a:prstGeom prst="rect">
            <a:avLst/>
          </a:prstGeom>
        </p:spPr>
      </p:pic>
      <p:sp>
        <p:nvSpPr>
          <p:cNvPr id="15" name="Tekstfelt 14">
            <a:extLst>
              <a:ext uri="{FF2B5EF4-FFF2-40B4-BE49-F238E27FC236}">
                <a16:creationId xmlns:a16="http://schemas.microsoft.com/office/drawing/2014/main" id="{B043451C-7E31-5B8F-3550-951576DDFF5A}"/>
              </a:ext>
            </a:extLst>
          </p:cNvPr>
          <p:cNvSpPr txBox="1"/>
          <p:nvPr/>
        </p:nvSpPr>
        <p:spPr>
          <a:xfrm>
            <a:off x="6384758" y="1470838"/>
            <a:ext cx="3767138" cy="171450"/>
          </a:xfrm>
          <a:prstGeom prst="rect">
            <a:avLst/>
          </a:prstGeom>
          <a:noFill/>
        </p:spPr>
        <p:txBody>
          <a:bodyPr wrap="square" lIns="0" tIns="0" rIns="0" bIns="0" rtlCol="0">
            <a:noAutofit/>
          </a:bodyPr>
          <a:lstStyle/>
          <a:p>
            <a:pPr algn="l"/>
            <a:r>
              <a:rPr lang="da-DK" sz="1600">
                <a:solidFill>
                  <a:schemeClr val="tx2"/>
                </a:solidFill>
              </a:rPr>
              <a:t>Sjællandske Nyheder, august 2025</a:t>
            </a:r>
          </a:p>
        </p:txBody>
      </p:sp>
    </p:spTree>
    <p:extLst>
      <p:ext uri="{BB962C8B-B14F-4D97-AF65-F5344CB8AC3E}">
        <p14:creationId xmlns:p14="http://schemas.microsoft.com/office/powerpoint/2010/main" val="89990066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02F4C-4790-8B50-1C43-28D25EBEA33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98CB5C2A-FB70-F925-F3B4-FCA71C382ACB}"/>
              </a:ext>
            </a:extLst>
          </p:cNvPr>
          <p:cNvSpPr>
            <a:spLocks noGrp="1"/>
          </p:cNvSpPr>
          <p:nvPr>
            <p:ph type="title"/>
          </p:nvPr>
        </p:nvSpPr>
        <p:spPr/>
        <p:txBody>
          <a:bodyPr/>
          <a:lstStyle/>
          <a:p>
            <a:r>
              <a:rPr lang="da-DK"/>
              <a:t>Kampen for flere plejehjemspladser</a:t>
            </a:r>
          </a:p>
        </p:txBody>
      </p:sp>
      <p:sp>
        <p:nvSpPr>
          <p:cNvPr id="6" name="Pladsholder til slidenummer 5">
            <a:extLst>
              <a:ext uri="{FF2B5EF4-FFF2-40B4-BE49-F238E27FC236}">
                <a16:creationId xmlns:a16="http://schemas.microsoft.com/office/drawing/2014/main" id="{3E3CF7B8-F564-2FA2-3410-0089EE83EF6D}"/>
              </a:ext>
            </a:extLst>
          </p:cNvPr>
          <p:cNvSpPr>
            <a:spLocks noGrp="1"/>
          </p:cNvSpPr>
          <p:nvPr>
            <p:ph type="sldNum" sz="quarter" idx="15"/>
          </p:nvPr>
        </p:nvSpPr>
        <p:spPr/>
        <p:txBody>
          <a:bodyPr/>
          <a:lstStyle/>
          <a:p>
            <a:fld id="{53638CB2-EA0C-44E4-A91A-4D7146E346C5}" type="slidenum">
              <a:rPr lang="da-DK" smtClean="0"/>
              <a:pPr/>
              <a:t>8</a:t>
            </a:fld>
            <a:endParaRPr lang="da-DK"/>
          </a:p>
        </p:txBody>
      </p:sp>
      <p:pic>
        <p:nvPicPr>
          <p:cNvPr id="4" name="Billede 3">
            <a:extLst>
              <a:ext uri="{FF2B5EF4-FFF2-40B4-BE49-F238E27FC236}">
                <a16:creationId xmlns:a16="http://schemas.microsoft.com/office/drawing/2014/main" id="{EF553E02-23EC-952B-A77F-B114696CCB82}"/>
              </a:ext>
            </a:extLst>
          </p:cNvPr>
          <p:cNvPicPr>
            <a:picLocks noChangeAspect="1"/>
          </p:cNvPicPr>
          <p:nvPr/>
        </p:nvPicPr>
        <p:blipFill>
          <a:blip r:embed="rId3"/>
          <a:stretch>
            <a:fillRect/>
          </a:stretch>
        </p:blipFill>
        <p:spPr>
          <a:xfrm>
            <a:off x="414336" y="1765536"/>
            <a:ext cx="9109674" cy="4673364"/>
          </a:xfrm>
          <a:prstGeom prst="rect">
            <a:avLst/>
          </a:prstGeom>
        </p:spPr>
      </p:pic>
      <p:pic>
        <p:nvPicPr>
          <p:cNvPr id="7" name="Pladsholder til indhold 11" descr="Et billede, der indeholder tekst, værktøj, design&#10;&#10;AI-genereret indhold kan være ukorrekt.">
            <a:extLst>
              <a:ext uri="{FF2B5EF4-FFF2-40B4-BE49-F238E27FC236}">
                <a16:creationId xmlns:a16="http://schemas.microsoft.com/office/drawing/2014/main" id="{9BE2BD1D-1447-AAC6-D1F0-F1E9D4CCCEEC}"/>
              </a:ext>
            </a:extLst>
          </p:cNvPr>
          <p:cNvPicPr>
            <a:picLocks noChangeAspect="1"/>
          </p:cNvPicPr>
          <p:nvPr/>
        </p:nvPicPr>
        <p:blipFill>
          <a:blip r:embed="rId4"/>
          <a:stretch/>
        </p:blipFill>
        <p:spPr>
          <a:xfrm>
            <a:off x="9705593" y="3012233"/>
            <a:ext cx="2400583" cy="34266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kstfelt 8">
            <a:extLst>
              <a:ext uri="{FF2B5EF4-FFF2-40B4-BE49-F238E27FC236}">
                <a16:creationId xmlns:a16="http://schemas.microsoft.com/office/drawing/2014/main" id="{EDD2BE99-7382-C9AC-9287-C703C51399E2}"/>
              </a:ext>
            </a:extLst>
          </p:cNvPr>
          <p:cNvSpPr txBox="1"/>
          <p:nvPr/>
        </p:nvSpPr>
        <p:spPr>
          <a:xfrm>
            <a:off x="546912" y="1258888"/>
            <a:ext cx="8050823" cy="293410"/>
          </a:xfrm>
          <a:prstGeom prst="rect">
            <a:avLst/>
          </a:prstGeom>
          <a:noFill/>
        </p:spPr>
        <p:txBody>
          <a:bodyPr wrap="square" lIns="0" tIns="0" rIns="0" bIns="0" rtlCol="0">
            <a:noAutofit/>
          </a:bodyPr>
          <a:lstStyle/>
          <a:p>
            <a:pPr algn="l"/>
            <a:r>
              <a:rPr lang="da-DK" sz="2000">
                <a:solidFill>
                  <a:schemeClr val="tx2"/>
                </a:solidFill>
              </a:rPr>
              <a:t>Spørgsmål til Ældreministeren fra Folketingets ældreudvalg, juni 2025</a:t>
            </a:r>
          </a:p>
        </p:txBody>
      </p:sp>
    </p:spTree>
    <p:extLst>
      <p:ext uri="{BB962C8B-B14F-4D97-AF65-F5344CB8AC3E}">
        <p14:creationId xmlns:p14="http://schemas.microsoft.com/office/powerpoint/2010/main" val="331555397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71EDD7-B61A-7668-0767-9495AC5BA07F}"/>
              </a:ext>
            </a:extLst>
          </p:cNvPr>
          <p:cNvSpPr>
            <a:spLocks noGrp="1"/>
          </p:cNvSpPr>
          <p:nvPr>
            <p:ph type="title"/>
          </p:nvPr>
        </p:nvSpPr>
        <p:spPr/>
        <p:txBody>
          <a:bodyPr/>
          <a:lstStyle/>
          <a:p>
            <a:r>
              <a:rPr lang="da-DK" sz="4400"/>
              <a:t>Undersøgelse: Hjælp i hverdagen</a:t>
            </a:r>
          </a:p>
        </p:txBody>
      </p:sp>
      <p:sp>
        <p:nvSpPr>
          <p:cNvPr id="3" name="Pladsholder til dato 2">
            <a:extLst>
              <a:ext uri="{FF2B5EF4-FFF2-40B4-BE49-F238E27FC236}">
                <a16:creationId xmlns:a16="http://schemas.microsoft.com/office/drawing/2014/main" id="{F43F0C1A-1C2B-0247-192D-915BCDAA98F1}"/>
              </a:ext>
            </a:extLst>
          </p:cNvPr>
          <p:cNvSpPr>
            <a:spLocks noGrp="1"/>
          </p:cNvSpPr>
          <p:nvPr>
            <p:ph type="dt" sz="half" idx="10"/>
          </p:nvPr>
        </p:nvSpPr>
        <p:spPr/>
        <p:txBody>
          <a:bodyPr/>
          <a:lstStyle/>
          <a:p>
            <a:fld id="{F3EF4D5A-4651-4B9C-924F-A1DBD1BE844D}" type="datetime1">
              <a:rPr lang="da-DK" smtClean="0"/>
              <a:t>16-09-2025</a:t>
            </a:fld>
            <a:endParaRPr lang="da-DK"/>
          </a:p>
        </p:txBody>
      </p:sp>
      <p:sp>
        <p:nvSpPr>
          <p:cNvPr id="5" name="Pladsholder til slidenummer 4">
            <a:extLst>
              <a:ext uri="{FF2B5EF4-FFF2-40B4-BE49-F238E27FC236}">
                <a16:creationId xmlns:a16="http://schemas.microsoft.com/office/drawing/2014/main" id="{43DBDA3F-C14D-ABA5-EA4F-1587712DCC87}"/>
              </a:ext>
            </a:extLst>
          </p:cNvPr>
          <p:cNvSpPr>
            <a:spLocks noGrp="1"/>
          </p:cNvSpPr>
          <p:nvPr>
            <p:ph type="sldNum" sz="quarter" idx="12"/>
          </p:nvPr>
        </p:nvSpPr>
        <p:spPr/>
        <p:txBody>
          <a:bodyPr/>
          <a:lstStyle/>
          <a:p>
            <a:fld id="{0E8862F4-759C-4937-98C7-CDEB1EE77131}" type="slidenum">
              <a:rPr lang="da-DK" smtClean="0"/>
              <a:pPr/>
              <a:t>9</a:t>
            </a:fld>
            <a:endParaRPr lang="da-DK"/>
          </a:p>
        </p:txBody>
      </p:sp>
      <p:sp>
        <p:nvSpPr>
          <p:cNvPr id="6" name="Pladsholder til indhold 5">
            <a:extLst>
              <a:ext uri="{FF2B5EF4-FFF2-40B4-BE49-F238E27FC236}">
                <a16:creationId xmlns:a16="http://schemas.microsoft.com/office/drawing/2014/main" id="{A7C01163-EF0E-0D25-4A13-0388EF766E48}"/>
              </a:ext>
            </a:extLst>
          </p:cNvPr>
          <p:cNvSpPr>
            <a:spLocks noGrp="1"/>
          </p:cNvSpPr>
          <p:nvPr>
            <p:ph sz="quarter" idx="13"/>
          </p:nvPr>
        </p:nvSpPr>
        <p:spPr>
          <a:xfrm>
            <a:off x="414336" y="1258888"/>
            <a:ext cx="11361737" cy="4479925"/>
          </a:xfrm>
        </p:spPr>
        <p:txBody>
          <a:bodyPr/>
          <a:lstStyle/>
          <a:p>
            <a:r>
              <a:rPr lang="da-DK" sz="2400" b="1">
                <a:solidFill>
                  <a:schemeClr val="tx2">
                    <a:lumMod val="50000"/>
                    <a:lumOff val="50000"/>
                  </a:schemeClr>
                </a:solidFill>
              </a:rPr>
              <a:t>Mere end 90.000 svækkede ældre får ikke den hjælp de har brug for!</a:t>
            </a:r>
          </a:p>
          <a:p>
            <a:endParaRPr lang="da-DK" sz="2000"/>
          </a:p>
          <a:p>
            <a:pPr>
              <a:lnSpc>
                <a:spcPct val="100000"/>
              </a:lnSpc>
            </a:pPr>
            <a:r>
              <a:rPr lang="da-DK" sz="2000" b="0" i="0">
                <a:solidFill>
                  <a:srgbClr val="192B37"/>
                </a:solidFill>
                <a:effectLst/>
                <a:latin typeface="IBM Plex Sans" panose="020B0503050203000203" pitchFamily="34" charset="0"/>
              </a:rPr>
              <a:t>Tallet svarer til mere end halvdelen af alle svækkede ældre i Danmark!</a:t>
            </a:r>
          </a:p>
          <a:p>
            <a:pPr>
              <a:lnSpc>
                <a:spcPct val="100000"/>
              </a:lnSpc>
            </a:pPr>
            <a:endParaRPr lang="da-DK" sz="2000">
              <a:solidFill>
                <a:srgbClr val="192B37"/>
              </a:solidFill>
            </a:endParaRPr>
          </a:p>
          <a:p>
            <a:pPr>
              <a:lnSpc>
                <a:spcPct val="100000"/>
              </a:lnSpc>
            </a:pPr>
            <a:r>
              <a:rPr lang="da-DK" sz="2000">
                <a:solidFill>
                  <a:srgbClr val="192B37"/>
                </a:solidFill>
              </a:rPr>
              <a:t>Den katastrofale mangel på hjælp strækker sig fra manglende rengøring</a:t>
            </a:r>
          </a:p>
          <a:p>
            <a:pPr>
              <a:lnSpc>
                <a:spcPct val="100000"/>
              </a:lnSpc>
            </a:pPr>
            <a:r>
              <a:rPr lang="da-DK" sz="2000">
                <a:solidFill>
                  <a:srgbClr val="192B37"/>
                </a:solidFill>
              </a:rPr>
              <a:t>til decideret sundhedsskadelige udeblivelse basal pleje.</a:t>
            </a:r>
          </a:p>
          <a:p>
            <a:pPr>
              <a:lnSpc>
                <a:spcPct val="100000"/>
              </a:lnSpc>
            </a:pPr>
            <a:endParaRPr lang="da-DK" sz="2000">
              <a:solidFill>
                <a:srgbClr val="192B37"/>
              </a:solidFill>
            </a:endParaRPr>
          </a:p>
          <a:p>
            <a:pPr>
              <a:lnSpc>
                <a:spcPct val="100000"/>
              </a:lnSpc>
            </a:pPr>
            <a:r>
              <a:rPr lang="da-DK" sz="2000">
                <a:solidFill>
                  <a:srgbClr val="192B37"/>
                </a:solidFill>
              </a:rPr>
              <a:t>Ældre Sagen rejste sagen i landsdækkende medier om situationens alvor.</a:t>
            </a:r>
            <a:endParaRPr lang="da-DK" sz="2000"/>
          </a:p>
        </p:txBody>
      </p:sp>
      <p:pic>
        <p:nvPicPr>
          <p:cNvPr id="8" name="Billede 7">
            <a:extLst>
              <a:ext uri="{FF2B5EF4-FFF2-40B4-BE49-F238E27FC236}">
                <a16:creationId xmlns:a16="http://schemas.microsoft.com/office/drawing/2014/main" id="{A6915EF1-089D-58D2-CDCC-06A43D654086}"/>
              </a:ext>
            </a:extLst>
          </p:cNvPr>
          <p:cNvPicPr>
            <a:picLocks noChangeAspect="1"/>
          </p:cNvPicPr>
          <p:nvPr/>
        </p:nvPicPr>
        <p:blipFill>
          <a:blip r:embed="rId3"/>
          <a:stretch>
            <a:fillRect/>
          </a:stretch>
        </p:blipFill>
        <p:spPr>
          <a:xfrm>
            <a:off x="8856931" y="2374977"/>
            <a:ext cx="3335069" cy="3992486"/>
          </a:xfrm>
          <a:prstGeom prst="rect">
            <a:avLst/>
          </a:prstGeom>
        </p:spPr>
      </p:pic>
      <p:pic>
        <p:nvPicPr>
          <p:cNvPr id="10" name="Billede 9">
            <a:extLst>
              <a:ext uri="{FF2B5EF4-FFF2-40B4-BE49-F238E27FC236}">
                <a16:creationId xmlns:a16="http://schemas.microsoft.com/office/drawing/2014/main" id="{1D7DB940-D415-4040-35BA-FDFE96C73293}"/>
              </a:ext>
            </a:extLst>
          </p:cNvPr>
          <p:cNvPicPr>
            <a:picLocks noChangeAspect="1"/>
          </p:cNvPicPr>
          <p:nvPr/>
        </p:nvPicPr>
        <p:blipFill>
          <a:blip r:embed="rId4"/>
          <a:stretch>
            <a:fillRect/>
          </a:stretch>
        </p:blipFill>
        <p:spPr>
          <a:xfrm>
            <a:off x="311997" y="4108518"/>
            <a:ext cx="4195182" cy="2258945"/>
          </a:xfrm>
          <a:prstGeom prst="rect">
            <a:avLst/>
          </a:prstGeom>
        </p:spPr>
      </p:pic>
      <p:pic>
        <p:nvPicPr>
          <p:cNvPr id="2052" name="Picture 4" descr="TV2 Nyhederne - Cessatech">
            <a:extLst>
              <a:ext uri="{FF2B5EF4-FFF2-40B4-BE49-F238E27FC236}">
                <a16:creationId xmlns:a16="http://schemas.microsoft.com/office/drawing/2014/main" id="{F998001F-C3C8-EAFC-7136-296E0D5033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4802" y="4108518"/>
            <a:ext cx="1082377" cy="52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007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_Ældre Sagen Powerpoint 20-03_2019">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2700" b="0" i="0" u="none" strike="noStrike" cap="none" spc="0" normalizeH="0" baseline="0" dirty="0" err="1" smtClean="0">
            <a:solidFill>
              <a:srgbClr val="FFFFFF"/>
            </a:solidFill>
            <a:uFillTx/>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2.xml><?xml version="1.0" encoding="utf-8"?>
<a:theme xmlns:a="http://schemas.openxmlformats.org/drawingml/2006/main" name="Office-tema">
  <a:themeElements>
    <a:clrScheme name="Brugerdefineret 17">
      <a:dk1>
        <a:srgbClr val="000000"/>
      </a:dk1>
      <a:lt1>
        <a:srgbClr val="FFFFFF"/>
      </a:lt1>
      <a:dk2>
        <a:srgbClr val="192B37"/>
      </a:dk2>
      <a:lt2>
        <a:srgbClr val="DEE2E4"/>
      </a:lt2>
      <a:accent1>
        <a:srgbClr val="52575B"/>
      </a:accent1>
      <a:accent2>
        <a:srgbClr val="3A8182"/>
      </a:accent2>
      <a:accent3>
        <a:srgbClr val="E0B362"/>
      </a:accent3>
      <a:accent4>
        <a:srgbClr val="9DB4C7"/>
      </a:accent4>
      <a:accent5>
        <a:srgbClr val="BB575D"/>
      </a:accent5>
      <a:accent6>
        <a:srgbClr val="E4C6BA"/>
      </a:accent6>
      <a:hlink>
        <a:srgbClr val="AB2026"/>
      </a:hlink>
      <a:folHlink>
        <a:srgbClr val="B2B2B2"/>
      </a:folHlink>
    </a:clrScheme>
    <a:fontScheme name="Custom 29">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EE2E4"/>
        </a:solidFill>
        <a:ln>
          <a:noFill/>
        </a:ln>
      </a:spPr>
      <a:bodyPr rtlCol="0" anchor="ctr"/>
      <a:lstStyle>
        <a:defPPr algn="ctr">
          <a:defRPr sz="1600" dirty="0" err="1" smtClean="0">
            <a:solidFill>
              <a:schemeClr val="tx2"/>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rgbClr val="A4B2BA"/>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600" dirty="0" err="1" smtClean="0">
            <a:solidFill>
              <a:schemeClr val="tx2"/>
            </a:solidFill>
          </a:defRPr>
        </a:defPPr>
      </a:lstStyle>
    </a:txDef>
  </a:objectDefaults>
  <a:extraClrSchemeLst/>
  <a:custClrLst>
    <a:custClr name="Logo">
      <a:srgbClr val="AB2026"/>
    </a:custClr>
    <a:custClr name="BAggrund">
      <a:srgbClr val="192B37"/>
    </a:custClr>
    <a:custClr name="BLANK">
      <a:srgbClr val="FFFFFF"/>
    </a:custClr>
    <a:custClr name="Turkis">
      <a:srgbClr val="235656"/>
    </a:custClr>
    <a:custClr name="Brun">
      <a:srgbClr val="A36A24"/>
    </a:custClr>
    <a:custClr name="Rosa">
      <a:srgbClr val="BB575D"/>
    </a:custClr>
    <a:custClr name="BLANK">
      <a:srgbClr val="FFFFFF"/>
    </a:custClr>
    <a:custClr name="Graa">
      <a:srgbClr val="52575B"/>
    </a:custClr>
    <a:custClr name="Mellem Graa">
      <a:srgbClr val="B2B2B2"/>
    </a:custClr>
    <a:custClr name="Lys Graa">
      <a:srgbClr val="D7D9DA"/>
    </a:custClr>
    <a:custClr name="Streg">
      <a:srgbClr val="A4B2BA"/>
    </a:custClr>
    <a:custClr name="Baggrund Lys">
      <a:srgbClr val="DEE2E4"/>
    </a:custClr>
    <a:custClr name="BLANK">
      <a:srgbClr val="FFFFFF"/>
    </a:custClr>
    <a:custClr name="Turkis Lys">
      <a:srgbClr val="3A8182"/>
    </a:custClr>
    <a:custClr name="Guld">
      <a:srgbClr val="E0B362"/>
    </a:custClr>
    <a:custClr name="Rosa Lys">
      <a:srgbClr val="CF8B8F"/>
    </a:custClr>
    <a:custClr name="BLANK">
      <a:srgbClr val="FFFFFF"/>
    </a:custClr>
    <a:custClr name="Action GO">
      <a:srgbClr val="4E9E6F"/>
    </a:custClr>
    <a:custClr name="Avtion Vent">
      <a:srgbClr val="EC8618"/>
    </a:custClr>
    <a:custClr name="Action Stop">
      <a:srgbClr val="B94335"/>
    </a:custClr>
  </a:custClrLst>
  <a:extLst>
    <a:ext uri="{05A4C25C-085E-4340-85A3-A5531E510DB2}">
      <thm15:themeFamily xmlns:thm15="http://schemas.microsoft.com/office/thememl/2012/main" name="Ældresagen Template 2025" id="{A912AFF9-98D8-4FA8-8008-4B3B22873175}" vid="{823659E1-A4C0-47A0-BEAE-936107495DCF}"/>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bfd816c-bc37-4efe-9220-c948c1dd6e1f">
      <Terms xmlns="http://schemas.microsoft.com/office/infopath/2007/PartnerControls"/>
    </lcf76f155ced4ddcb4097134ff3c332f>
    <TaxCatchAll xmlns="2b7602ae-c66b-4761-b490-868f8c53084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49128EC2C2B524FAC124153E0BF3637" ma:contentTypeVersion="12" ma:contentTypeDescription="Create a new document." ma:contentTypeScope="" ma:versionID="926fbd968079e72e1d6473175e67b2b9">
  <xsd:schema xmlns:xsd="http://www.w3.org/2001/XMLSchema" xmlns:xs="http://www.w3.org/2001/XMLSchema" xmlns:p="http://schemas.microsoft.com/office/2006/metadata/properties" xmlns:ns2="fbfd816c-bc37-4efe-9220-c948c1dd6e1f" xmlns:ns3="2b7602ae-c66b-4761-b490-868f8c53084d" targetNamespace="http://schemas.microsoft.com/office/2006/metadata/properties" ma:root="true" ma:fieldsID="b5ef42d62716ad6fdbb8a781409006fd" ns2:_="" ns3:_="">
    <xsd:import namespace="fbfd816c-bc37-4efe-9220-c948c1dd6e1f"/>
    <xsd:import namespace="2b7602ae-c66b-4761-b490-868f8c53084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fd816c-bc37-4efe-9220-c948c1dd6e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991f354-4b5f-47f6-9ac2-88b5116a3f3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b7602ae-c66b-4761-b490-868f8c53084d"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37cc3fe-da9c-473e-b6aa-f65b00b35c8f}" ma:internalName="TaxCatchAll" ma:showField="CatchAllData" ma:web="2b7602ae-c66b-4761-b490-868f8c5308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D83D71-C525-4968-A17A-F89C69A1C5EF}">
  <ds:schemaRefs>
    <ds:schemaRef ds:uri="http://purl.org/dc/dcmitype/"/>
    <ds:schemaRef ds:uri="http://schemas.microsoft.com/office/2006/metadata/properties"/>
    <ds:schemaRef ds:uri="http://purl.org/dc/elements/1.1/"/>
    <ds:schemaRef ds:uri="fbfd816c-bc37-4efe-9220-c948c1dd6e1f"/>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2b7602ae-c66b-4761-b490-868f8c53084d"/>
    <ds:schemaRef ds:uri="http://purl.org/dc/terms/"/>
  </ds:schemaRefs>
</ds:datastoreItem>
</file>

<file path=customXml/itemProps2.xml><?xml version="1.0" encoding="utf-8"?>
<ds:datastoreItem xmlns:ds="http://schemas.openxmlformats.org/officeDocument/2006/customXml" ds:itemID="{95E59E5A-4499-456C-A21F-BD95FC93453B}">
  <ds:schemaRefs>
    <ds:schemaRef ds:uri="2b7602ae-c66b-4761-b490-868f8c53084d"/>
    <ds:schemaRef ds:uri="fbfd816c-bc37-4efe-9220-c948c1dd6e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ED6F2B3-A7A8-4253-8D52-A37CFA29FC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ES_PowerPointskabelon_2019</Template>
  <TotalTime>213</TotalTime>
  <Words>4507</Words>
  <Application>Microsoft Office PowerPoint</Application>
  <PresentationFormat>Widescreen</PresentationFormat>
  <Paragraphs>446</Paragraphs>
  <Slides>36</Slides>
  <Notes>36</Notes>
  <HiddenSlides>6</HiddenSlides>
  <MMClips>0</MMClips>
  <ScaleCrop>false</ScaleCrop>
  <HeadingPairs>
    <vt:vector size="8" baseType="variant">
      <vt:variant>
        <vt:lpstr>Benyttede skrifttyper</vt:lpstr>
      </vt:variant>
      <vt:variant>
        <vt:i4>10</vt:i4>
      </vt:variant>
      <vt:variant>
        <vt:lpstr>Tema</vt:lpstr>
      </vt:variant>
      <vt:variant>
        <vt:i4>2</vt:i4>
      </vt:variant>
      <vt:variant>
        <vt:lpstr>Integrerede OLE-servere</vt:lpstr>
      </vt:variant>
      <vt:variant>
        <vt:i4>1</vt:i4>
      </vt:variant>
      <vt:variant>
        <vt:lpstr>Slidetitler</vt:lpstr>
      </vt:variant>
      <vt:variant>
        <vt:i4>36</vt:i4>
      </vt:variant>
    </vt:vector>
  </HeadingPairs>
  <TitlesOfParts>
    <vt:vector size="49" baseType="lpstr">
      <vt:lpstr>Aptos</vt:lpstr>
      <vt:lpstr>Arial</vt:lpstr>
      <vt:lpstr>Arial,Sans-Serif</vt:lpstr>
      <vt:lpstr>Calibri</vt:lpstr>
      <vt:lpstr>Georgia</vt:lpstr>
      <vt:lpstr>Helvetica</vt:lpstr>
      <vt:lpstr>IBM Plex Sans</vt:lpstr>
      <vt:lpstr>IBM Plex Sans Medium</vt:lpstr>
      <vt:lpstr>Palatino</vt:lpstr>
      <vt:lpstr>Symbol</vt:lpstr>
      <vt:lpstr>a_Ældre Sagen Powerpoint 20-03_2019</vt:lpstr>
      <vt:lpstr>Office-tema</vt:lpstr>
      <vt:lpstr>think-cell Slide</vt:lpstr>
      <vt:lpstr>Aktuel ældre- og sundhedspolitik  Strategi 2026</vt:lpstr>
      <vt:lpstr>Agenda   </vt:lpstr>
      <vt:lpstr>Ældreloven er i implementeringsfasen….</vt:lpstr>
      <vt:lpstr>Kampen for flere plejehjemspladser</vt:lpstr>
      <vt:lpstr>Kampen for flere plejehjemspladser</vt:lpstr>
      <vt:lpstr>3 store Ældre Sagen-undersøgelser som afsæt til KV25</vt:lpstr>
      <vt:lpstr>Undersøgelse: Normeringer på plejehjem</vt:lpstr>
      <vt:lpstr>Kampen for flere plejehjemspladser</vt:lpstr>
      <vt:lpstr>Undersøgelse: Hjælp i hverdagen</vt:lpstr>
      <vt:lpstr>Omsorgssvigt</vt:lpstr>
      <vt:lpstr>Status på sundhedsreformen</vt:lpstr>
      <vt:lpstr>17 nye sundhedsråd fordelt på fire regioner</vt:lpstr>
      <vt:lpstr>Sundhedsministeren lytter til Ældre Sagen</vt:lpstr>
      <vt:lpstr>92 ud af 98 kommuner nedprioriterede ældreområdet i 2024</vt:lpstr>
      <vt:lpstr>Flytning af udbetalingen af ældrechecken fra 30. januar 2026 til 30. april 2026</vt:lpstr>
      <vt:lpstr>Stigende fødevarepriser rammer pensionister hårdt</vt:lpstr>
      <vt:lpstr>Ældre Sagen bekæmper økonomisk it-kriminalitet</vt:lpstr>
      <vt:lpstr>Strategi 2026 </vt:lpstr>
      <vt:lpstr>Politiske og økonomiske tendenser i 2026</vt:lpstr>
      <vt:lpstr>De 3 Skub:  Tre områder i  Ældre Sagens  2023-2027-strategi, hvor vi ønsker at styrke indsats og resultater </vt:lpstr>
      <vt:lpstr>Værdig sundhed, omsorg og pleje</vt:lpstr>
      <vt:lpstr>Sundhedsreformen….!</vt:lpstr>
      <vt:lpstr>Politisk udfordring for Ældre Sagen i 2026</vt:lpstr>
      <vt:lpstr>Politiske muligheder for Ældre Sagen i 2026, trods ”iltmangel” </vt:lpstr>
      <vt:lpstr>Vi skal i 2026 følge op på KV25 </vt:lpstr>
      <vt:lpstr>Moonshot demens Sammen finder vi kuren </vt:lpstr>
      <vt:lpstr>PowerPoint-præsentation</vt:lpstr>
      <vt:lpstr>Demens 2026</vt:lpstr>
      <vt:lpstr>Mental sundhed </vt:lpstr>
      <vt:lpstr>En aktiv seniorstyrke</vt:lpstr>
      <vt:lpstr>Forebyggelse: ”Alderskraft” </vt:lpstr>
      <vt:lpstr>Lokal mobilisering, påvirkning og støtte</vt:lpstr>
      <vt:lpstr>Medlemmerne er forskellige  </vt:lpstr>
      <vt:lpstr>Opbygning af digitale og teknologiske kompetencer</vt:lpstr>
      <vt:lpstr>Ældre Sagen som videnbank og fremtidsskaber</vt:lpstr>
      <vt:lpstr>Hård prioritering for 2026 trods medlemsfremga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kutplan for sundhedsvæsenet</dc:title>
  <dc:creator>Anna Wilroth</dc:creator>
  <cp:lastModifiedBy>Lars Linderholm</cp:lastModifiedBy>
  <cp:revision>2</cp:revision>
  <cp:lastPrinted>2024-09-05T11:36:50Z</cp:lastPrinted>
  <dcterms:created xsi:type="dcterms:W3CDTF">2023-04-17T10:34:53Z</dcterms:created>
  <dcterms:modified xsi:type="dcterms:W3CDTF">2025-09-16T13: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9128EC2C2B524FAC124153E0BF3637</vt:lpwstr>
  </property>
  <property fmtid="{D5CDD505-2E9C-101B-9397-08002B2CF9AE}" pid="3" name="Order">
    <vt:lpwstr>17000.0000000000</vt:lpwstr>
  </property>
  <property fmtid="{D5CDD505-2E9C-101B-9397-08002B2CF9AE}" pid="4" name="MediaServiceImageTags">
    <vt:lpwstr/>
  </property>
</Properties>
</file>